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6" r:id="rId2"/>
    <p:sldId id="257" r:id="rId3"/>
    <p:sldId id="259" r:id="rId4"/>
    <p:sldId id="261" r:id="rId5"/>
    <p:sldId id="260" r:id="rId6"/>
    <p:sldId id="262" r:id="rId7"/>
    <p:sldId id="268" r:id="rId8"/>
    <p:sldId id="263" r:id="rId9"/>
    <p:sldId id="264" r:id="rId10"/>
    <p:sldId id="265" r:id="rId11"/>
    <p:sldId id="266" r:id="rId12"/>
    <p:sldId id="267" r:id="rId13"/>
    <p:sldId id="269" r:id="rId14"/>
    <p:sldId id="258" r:id="rId15"/>
  </p:sldIdLst>
  <p:sldSz cx="12192000" cy="6858000"/>
  <p:notesSz cx="6858000" cy="9144000"/>
  <p:embeddedFontLst>
    <p:embeddedFont>
      <p:font typeface="Calibri Light" panose="020F0302020204030204" pitchFamily="34" charset="0"/>
      <p:regular r:id="rId16"/>
      <p:italic r:id="rId17"/>
    </p:embeddedFont>
    <p:embeddedFont>
      <p:font typeface="Calibri" panose="020F0502020204030204" pitchFamily="34" charset="0"/>
      <p:regular r:id="rId18"/>
      <p:bold r:id="rId19"/>
      <p:italic r:id="rId20"/>
      <p:boldItalic r:id="rId21"/>
    </p:embeddedFont>
  </p:embeddedFont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38" autoAdjust="0"/>
    <p:restoredTop sz="94660"/>
  </p:normalViewPr>
  <p:slideViewPr>
    <p:cSldViewPr snapToGrid="0">
      <p:cViewPr>
        <p:scale>
          <a:sx n="60" d="100"/>
          <a:sy n="60" d="100"/>
        </p:scale>
        <p:origin x="2412" y="1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5CE15-A81E-47BB-BEFB-324B2F2833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F2D9D4-49CC-4403-9B25-DA1BFDDADC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EA04D9-07E9-4DEA-A8B7-C9CCBD8F8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DA0DED-4657-41DC-A493-350CF849F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51D27F-FBB3-4484-B932-0A542133F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555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E5E46-6A2C-464A-B17B-1A5315D55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8BFE456-56A9-4EDA-BE08-34B3423B20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D139AE-20F7-4E13-B176-FE20412EB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4B11E-46F6-42C7-A0C4-90222BA104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1942EE-642B-4E73-B187-9F0A151AD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7332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49DB89D-CC44-4BCD-92DD-30CC64E0B0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812DB6-E380-47BD-B99A-8390867DDE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2F8EC8-2742-42E9-B70D-CFF541E1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6FA402-9BDB-465B-9B54-643D03DBC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07A740-8805-44B0-BC7F-8F680A73C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92707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80714-593B-4E51-929B-D5B8CD294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9F7DD-E44F-4FF2-9BC4-FE64FE3B1E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E1094-6EDA-41AF-BD4A-7AE6AFA29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13E89-FCAA-4C52-98DF-DAA67A808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750D36-9799-4F58-B54C-E5594B078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878394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E7003-2562-4C60-A34A-49EFA443E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34269-8995-4EB2-9BBA-A7FC6E729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093BF-725A-4671-9E52-EE7193355C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05A271-8AD8-4DAD-B41B-C4E18D9C8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CC6487-7D68-4B21-90BB-A23407B97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44913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2BC9E-9643-488E-B15C-D62F05EDF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36CC9A-F7B3-49BB-9C67-315E8AF8F0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EEA991-AE54-4AFA-A371-EC610D8DD4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2DCBE0-03B3-43A6-BF80-057BB5A95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BDF332-CADA-4914-B371-897199F3A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E55FC0-FA09-4253-8F0B-A649FE311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0730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F31DB-DBAB-409F-AA52-6E1FF806B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5D5AC0-508A-4E4E-82BA-081E3E6BEC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447007-A1B5-44DC-AD58-D518BBE5A9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EBC363-5F87-413C-BE17-747DEECCDC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984CB7-83AB-4CA7-9745-5B8CA00DDE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EF82D7D-74CA-4F66-BFBD-DE56B80B7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1D5997-DE75-431C-9609-27D5DA3E8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3A82621-00A2-4AD7-9E08-D27893748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71756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4CFE4-68EF-455C-81D4-2DB432F70D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13A478-C0DD-45FB-8B37-CDA61A325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E2E767-29B7-451C-9DF1-16D3CD08D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C6D0F4-759D-4E1E-8157-F5A64EC9DB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75077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5D1BE83-3940-46D0-8258-D6D83ED61F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8528AA-9B75-42DB-9492-092840C69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7A9D5-9A10-4DAC-A0A6-4BA90FF0F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10336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EFFB7-29A9-4C9E-9428-45E7D70F2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830996-4A65-41B4-87A0-7B8BED42F7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B5F2E-B653-4FE7-AC2B-BD1BAE66C1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D8D73F-7348-477A-A368-E096866BA2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73F16D-FCE5-418D-A3BE-FCF0C634B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9132B1-9E3E-45AF-BF4D-809F27846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31735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53864-FEC9-4E48-BC76-29916EDC7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13EB44-FCC7-4211-A0A5-3C493355DCD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D2E3F8-3299-4ADE-9450-C251CF9136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598DF9-0EBD-42F8-8C8A-7CD7B54D31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0AF6C3-542C-440D-BE1A-B02F43781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B5ED78-DC08-4872-A9BF-41DEE9120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2552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70BA38-56F5-433D-B234-E40E1CDF7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282F4C-5374-4CAB-AFDD-30C0DA416D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FEC0E-674F-4136-9B22-11EA4E20AA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003199-A0C4-4296-AF23-F59743F824EF}" type="datetimeFigureOut">
              <a:rPr lang="da-DK" smtClean="0"/>
              <a:t>14-01-2019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A08A89-3EF3-47E0-BCF3-732CC7CAE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08F56F-D7BC-4C66-8FCC-183E39B37F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F4F22E-A61E-4B20-B450-DE1807065D6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6737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7F886-93BE-46C2-B35E-1C235D0BFF6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UndersøgelsesBaseret NaturfagsUndervisning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97F578-54E1-4EA5-BCE9-06802C130D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Science Writing Heuristic</a:t>
            </a:r>
          </a:p>
        </p:txBody>
      </p:sp>
      <p:grpSp>
        <p:nvGrpSpPr>
          <p:cNvPr id="4" name="Gears">
            <a:extLst>
              <a:ext uri="{FF2B5EF4-FFF2-40B4-BE49-F238E27FC236}">
                <a16:creationId xmlns:a16="http://schemas.microsoft.com/office/drawing/2014/main" id="{56ADCCAE-F2D7-4D8D-8687-8F741BC4102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173633" y="2951815"/>
            <a:ext cx="4018367" cy="4288055"/>
            <a:chOff x="8" y="8"/>
            <a:chExt cx="447" cy="477"/>
          </a:xfrm>
          <a:solidFill>
            <a:schemeClr val="accent1"/>
          </a:solidFill>
        </p:grpSpPr>
        <p:sp>
          <p:nvSpPr>
            <p:cNvPr id="5" name="Gears">
              <a:extLst>
                <a:ext uri="{FF2B5EF4-FFF2-40B4-BE49-F238E27FC236}">
                  <a16:creationId xmlns:a16="http://schemas.microsoft.com/office/drawing/2014/main" id="{0586DFAB-7006-42E1-981D-8C1132319E18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09" y="8"/>
              <a:ext cx="246" cy="246"/>
            </a:xfrm>
            <a:custGeom>
              <a:avLst/>
              <a:gdLst>
                <a:gd name="T0" fmla="*/ 569 w 630"/>
                <a:gd name="T1" fmla="*/ 128 h 630"/>
                <a:gd name="T2" fmla="*/ 501 w 630"/>
                <a:gd name="T3" fmla="*/ 63 h 630"/>
                <a:gd name="T4" fmla="*/ 415 w 630"/>
                <a:gd name="T5" fmla="*/ 101 h 630"/>
                <a:gd name="T6" fmla="*/ 372 w 630"/>
                <a:gd name="T7" fmla="*/ 86 h 630"/>
                <a:gd name="T8" fmla="*/ 325 w 630"/>
                <a:gd name="T9" fmla="*/ 0 h 630"/>
                <a:gd name="T10" fmla="*/ 305 w 630"/>
                <a:gd name="T11" fmla="*/ 0 h 630"/>
                <a:gd name="T12" fmla="*/ 262 w 630"/>
                <a:gd name="T13" fmla="*/ 85 h 630"/>
                <a:gd name="T14" fmla="*/ 245 w 630"/>
                <a:gd name="T15" fmla="*/ 89 h 630"/>
                <a:gd name="T16" fmla="*/ 191 w 630"/>
                <a:gd name="T17" fmla="*/ 114 h 630"/>
                <a:gd name="T18" fmla="*/ 127 w 630"/>
                <a:gd name="T19" fmla="*/ 61 h 630"/>
                <a:gd name="T20" fmla="*/ 91 w 630"/>
                <a:gd name="T21" fmla="*/ 94 h 630"/>
                <a:gd name="T22" fmla="*/ 62 w 630"/>
                <a:gd name="T23" fmla="*/ 129 h 630"/>
                <a:gd name="T24" fmla="*/ 100 w 630"/>
                <a:gd name="T25" fmla="*/ 215 h 630"/>
                <a:gd name="T26" fmla="*/ 85 w 630"/>
                <a:gd name="T27" fmla="*/ 260 h 630"/>
                <a:gd name="T28" fmla="*/ 0 w 630"/>
                <a:gd name="T29" fmla="*/ 308 h 630"/>
                <a:gd name="T30" fmla="*/ 85 w 630"/>
                <a:gd name="T31" fmla="*/ 370 h 630"/>
                <a:gd name="T32" fmla="*/ 100 w 630"/>
                <a:gd name="T33" fmla="*/ 416 h 630"/>
                <a:gd name="T34" fmla="*/ 64 w 630"/>
                <a:gd name="T35" fmla="*/ 504 h 630"/>
                <a:gd name="T36" fmla="*/ 131 w 630"/>
                <a:gd name="T37" fmla="*/ 570 h 630"/>
                <a:gd name="T38" fmla="*/ 193 w 630"/>
                <a:gd name="T39" fmla="*/ 519 h 630"/>
                <a:gd name="T40" fmla="*/ 248 w 630"/>
                <a:gd name="T41" fmla="*/ 543 h 630"/>
                <a:gd name="T42" fmla="*/ 270 w 630"/>
                <a:gd name="T43" fmla="*/ 628 h 630"/>
                <a:gd name="T44" fmla="*/ 324 w 630"/>
                <a:gd name="T45" fmla="*/ 630 h 630"/>
                <a:gd name="T46" fmla="*/ 372 w 630"/>
                <a:gd name="T47" fmla="*/ 545 h 630"/>
                <a:gd name="T48" fmla="*/ 384 w 630"/>
                <a:gd name="T49" fmla="*/ 541 h 630"/>
                <a:gd name="T50" fmla="*/ 441 w 630"/>
                <a:gd name="T51" fmla="*/ 515 h 630"/>
                <a:gd name="T52" fmla="*/ 505 w 630"/>
                <a:gd name="T53" fmla="*/ 568 h 630"/>
                <a:gd name="T54" fmla="*/ 538 w 630"/>
                <a:gd name="T55" fmla="*/ 538 h 630"/>
                <a:gd name="T56" fmla="*/ 518 w 630"/>
                <a:gd name="T57" fmla="*/ 438 h 630"/>
                <a:gd name="T58" fmla="*/ 530 w 630"/>
                <a:gd name="T59" fmla="*/ 415 h 630"/>
                <a:gd name="T60" fmla="*/ 542 w 630"/>
                <a:gd name="T61" fmla="*/ 383 h 630"/>
                <a:gd name="T62" fmla="*/ 626 w 630"/>
                <a:gd name="T63" fmla="*/ 364 h 630"/>
                <a:gd name="T64" fmla="*/ 630 w 630"/>
                <a:gd name="T65" fmla="*/ 315 h 630"/>
                <a:gd name="T66" fmla="*/ 626 w 630"/>
                <a:gd name="T67" fmla="*/ 268 h 630"/>
                <a:gd name="T68" fmla="*/ 542 w 630"/>
                <a:gd name="T69" fmla="*/ 249 h 630"/>
                <a:gd name="T70" fmla="*/ 517 w 630"/>
                <a:gd name="T71" fmla="*/ 191 h 630"/>
                <a:gd name="T72" fmla="*/ 235 w 630"/>
                <a:gd name="T73" fmla="*/ 233 h 630"/>
                <a:gd name="T74" fmla="*/ 399 w 630"/>
                <a:gd name="T75" fmla="*/ 233 h 630"/>
                <a:gd name="T76" fmla="*/ 399 w 630"/>
                <a:gd name="T77" fmla="*/ 396 h 630"/>
                <a:gd name="T78" fmla="*/ 235 w 630"/>
                <a:gd name="T79" fmla="*/ 396 h 630"/>
                <a:gd name="T80" fmla="*/ 235 w 630"/>
                <a:gd name="T81" fmla="*/ 233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30" h="630">
                  <a:moveTo>
                    <a:pt x="569" y="129"/>
                  </a:moveTo>
                  <a:lnTo>
                    <a:pt x="569" y="128"/>
                  </a:lnTo>
                  <a:cubicBezTo>
                    <a:pt x="550" y="103"/>
                    <a:pt x="527" y="81"/>
                    <a:pt x="501" y="61"/>
                  </a:cubicBezTo>
                  <a:lnTo>
                    <a:pt x="501" y="63"/>
                  </a:lnTo>
                  <a:cubicBezTo>
                    <a:pt x="480" y="79"/>
                    <a:pt x="458" y="96"/>
                    <a:pt x="438" y="114"/>
                  </a:cubicBezTo>
                  <a:cubicBezTo>
                    <a:pt x="430" y="109"/>
                    <a:pt x="422" y="105"/>
                    <a:pt x="415" y="101"/>
                  </a:cubicBezTo>
                  <a:cubicBezTo>
                    <a:pt x="405" y="96"/>
                    <a:pt x="395" y="91"/>
                    <a:pt x="383" y="89"/>
                  </a:cubicBezTo>
                  <a:cubicBezTo>
                    <a:pt x="380" y="88"/>
                    <a:pt x="376" y="86"/>
                    <a:pt x="372" y="86"/>
                  </a:cubicBezTo>
                  <a:cubicBezTo>
                    <a:pt x="370" y="59"/>
                    <a:pt x="367" y="31"/>
                    <a:pt x="363" y="4"/>
                  </a:cubicBezTo>
                  <a:cubicBezTo>
                    <a:pt x="351" y="1"/>
                    <a:pt x="338" y="1"/>
                    <a:pt x="325" y="0"/>
                  </a:cubicBezTo>
                  <a:lnTo>
                    <a:pt x="315" y="0"/>
                  </a:lnTo>
                  <a:lnTo>
                    <a:pt x="305" y="0"/>
                  </a:lnTo>
                  <a:cubicBezTo>
                    <a:pt x="292" y="1"/>
                    <a:pt x="281" y="1"/>
                    <a:pt x="270" y="4"/>
                  </a:cubicBezTo>
                  <a:cubicBezTo>
                    <a:pt x="266" y="30"/>
                    <a:pt x="263" y="57"/>
                    <a:pt x="262" y="85"/>
                  </a:cubicBezTo>
                  <a:cubicBezTo>
                    <a:pt x="257" y="85"/>
                    <a:pt x="253" y="86"/>
                    <a:pt x="248" y="88"/>
                  </a:cubicBezTo>
                  <a:cubicBezTo>
                    <a:pt x="247" y="88"/>
                    <a:pt x="246" y="88"/>
                    <a:pt x="245" y="89"/>
                  </a:cubicBezTo>
                  <a:cubicBezTo>
                    <a:pt x="235" y="91"/>
                    <a:pt x="225" y="96"/>
                    <a:pt x="215" y="101"/>
                  </a:cubicBezTo>
                  <a:cubicBezTo>
                    <a:pt x="206" y="105"/>
                    <a:pt x="198" y="109"/>
                    <a:pt x="191" y="114"/>
                  </a:cubicBezTo>
                  <a:cubicBezTo>
                    <a:pt x="170" y="96"/>
                    <a:pt x="150" y="80"/>
                    <a:pt x="128" y="63"/>
                  </a:cubicBezTo>
                  <a:lnTo>
                    <a:pt x="127" y="61"/>
                  </a:lnTo>
                  <a:cubicBezTo>
                    <a:pt x="122" y="65"/>
                    <a:pt x="117" y="69"/>
                    <a:pt x="113" y="73"/>
                  </a:cubicBezTo>
                  <a:cubicBezTo>
                    <a:pt x="105" y="79"/>
                    <a:pt x="97" y="86"/>
                    <a:pt x="91" y="94"/>
                  </a:cubicBezTo>
                  <a:cubicBezTo>
                    <a:pt x="80" y="104"/>
                    <a:pt x="71" y="116"/>
                    <a:pt x="61" y="129"/>
                  </a:cubicBezTo>
                  <a:lnTo>
                    <a:pt x="62" y="129"/>
                  </a:lnTo>
                  <a:cubicBezTo>
                    <a:pt x="78" y="150"/>
                    <a:pt x="96" y="170"/>
                    <a:pt x="114" y="191"/>
                  </a:cubicBezTo>
                  <a:cubicBezTo>
                    <a:pt x="109" y="199"/>
                    <a:pt x="104" y="208"/>
                    <a:pt x="100" y="215"/>
                  </a:cubicBezTo>
                  <a:cubicBezTo>
                    <a:pt x="95" y="225"/>
                    <a:pt x="91" y="236"/>
                    <a:pt x="89" y="246"/>
                  </a:cubicBezTo>
                  <a:cubicBezTo>
                    <a:pt x="86" y="251"/>
                    <a:pt x="85" y="256"/>
                    <a:pt x="85" y="260"/>
                  </a:cubicBezTo>
                  <a:cubicBezTo>
                    <a:pt x="57" y="263"/>
                    <a:pt x="30" y="265"/>
                    <a:pt x="4" y="269"/>
                  </a:cubicBezTo>
                  <a:cubicBezTo>
                    <a:pt x="1" y="281"/>
                    <a:pt x="0" y="294"/>
                    <a:pt x="0" y="308"/>
                  </a:cubicBezTo>
                  <a:cubicBezTo>
                    <a:pt x="0" y="326"/>
                    <a:pt x="1" y="345"/>
                    <a:pt x="5" y="363"/>
                  </a:cubicBezTo>
                  <a:cubicBezTo>
                    <a:pt x="31" y="365"/>
                    <a:pt x="57" y="368"/>
                    <a:pt x="85" y="370"/>
                  </a:cubicBezTo>
                  <a:cubicBezTo>
                    <a:pt x="85" y="375"/>
                    <a:pt x="86" y="380"/>
                    <a:pt x="89" y="384"/>
                  </a:cubicBezTo>
                  <a:cubicBezTo>
                    <a:pt x="91" y="395"/>
                    <a:pt x="95" y="405"/>
                    <a:pt x="100" y="416"/>
                  </a:cubicBezTo>
                  <a:cubicBezTo>
                    <a:pt x="105" y="425"/>
                    <a:pt x="109" y="434"/>
                    <a:pt x="115" y="441"/>
                  </a:cubicBezTo>
                  <a:cubicBezTo>
                    <a:pt x="97" y="463"/>
                    <a:pt x="80" y="483"/>
                    <a:pt x="64" y="504"/>
                  </a:cubicBezTo>
                  <a:cubicBezTo>
                    <a:pt x="82" y="530"/>
                    <a:pt x="105" y="553"/>
                    <a:pt x="131" y="571"/>
                  </a:cubicBezTo>
                  <a:lnTo>
                    <a:pt x="131" y="570"/>
                  </a:lnTo>
                  <a:cubicBezTo>
                    <a:pt x="151" y="554"/>
                    <a:pt x="172" y="536"/>
                    <a:pt x="192" y="519"/>
                  </a:cubicBezTo>
                  <a:lnTo>
                    <a:pt x="193" y="519"/>
                  </a:lnTo>
                  <a:cubicBezTo>
                    <a:pt x="200" y="523"/>
                    <a:pt x="207" y="526"/>
                    <a:pt x="214" y="530"/>
                  </a:cubicBezTo>
                  <a:cubicBezTo>
                    <a:pt x="225" y="535"/>
                    <a:pt x="237" y="540"/>
                    <a:pt x="248" y="543"/>
                  </a:cubicBezTo>
                  <a:cubicBezTo>
                    <a:pt x="253" y="544"/>
                    <a:pt x="257" y="545"/>
                    <a:pt x="261" y="546"/>
                  </a:cubicBezTo>
                  <a:cubicBezTo>
                    <a:pt x="264" y="573"/>
                    <a:pt x="266" y="600"/>
                    <a:pt x="270" y="628"/>
                  </a:cubicBezTo>
                  <a:cubicBezTo>
                    <a:pt x="281" y="629"/>
                    <a:pt x="292" y="630"/>
                    <a:pt x="305" y="630"/>
                  </a:cubicBezTo>
                  <a:lnTo>
                    <a:pt x="324" y="630"/>
                  </a:lnTo>
                  <a:cubicBezTo>
                    <a:pt x="337" y="630"/>
                    <a:pt x="351" y="629"/>
                    <a:pt x="365" y="626"/>
                  </a:cubicBezTo>
                  <a:cubicBezTo>
                    <a:pt x="367" y="600"/>
                    <a:pt x="370" y="573"/>
                    <a:pt x="372" y="545"/>
                  </a:cubicBezTo>
                  <a:lnTo>
                    <a:pt x="384" y="541"/>
                  </a:lnTo>
                  <a:lnTo>
                    <a:pt x="384" y="541"/>
                  </a:lnTo>
                  <a:cubicBezTo>
                    <a:pt x="395" y="539"/>
                    <a:pt x="405" y="535"/>
                    <a:pt x="415" y="530"/>
                  </a:cubicBezTo>
                  <a:cubicBezTo>
                    <a:pt x="424" y="526"/>
                    <a:pt x="432" y="521"/>
                    <a:pt x="441" y="515"/>
                  </a:cubicBezTo>
                  <a:cubicBezTo>
                    <a:pt x="441" y="516"/>
                    <a:pt x="441" y="516"/>
                    <a:pt x="442" y="516"/>
                  </a:cubicBezTo>
                  <a:cubicBezTo>
                    <a:pt x="462" y="534"/>
                    <a:pt x="483" y="551"/>
                    <a:pt x="505" y="568"/>
                  </a:cubicBezTo>
                  <a:cubicBezTo>
                    <a:pt x="508" y="565"/>
                    <a:pt x="512" y="563"/>
                    <a:pt x="517" y="559"/>
                  </a:cubicBezTo>
                  <a:cubicBezTo>
                    <a:pt x="525" y="553"/>
                    <a:pt x="532" y="545"/>
                    <a:pt x="538" y="538"/>
                  </a:cubicBezTo>
                  <a:cubicBezTo>
                    <a:pt x="550" y="526"/>
                    <a:pt x="561" y="514"/>
                    <a:pt x="571" y="500"/>
                  </a:cubicBezTo>
                  <a:cubicBezTo>
                    <a:pt x="553" y="479"/>
                    <a:pt x="536" y="458"/>
                    <a:pt x="518" y="438"/>
                  </a:cubicBezTo>
                  <a:lnTo>
                    <a:pt x="518" y="436"/>
                  </a:lnTo>
                  <a:cubicBezTo>
                    <a:pt x="522" y="430"/>
                    <a:pt x="526" y="422"/>
                    <a:pt x="530" y="415"/>
                  </a:cubicBezTo>
                  <a:cubicBezTo>
                    <a:pt x="533" y="405"/>
                    <a:pt x="538" y="395"/>
                    <a:pt x="541" y="385"/>
                  </a:cubicBezTo>
                  <a:cubicBezTo>
                    <a:pt x="541" y="384"/>
                    <a:pt x="541" y="383"/>
                    <a:pt x="542" y="383"/>
                  </a:cubicBezTo>
                  <a:cubicBezTo>
                    <a:pt x="542" y="378"/>
                    <a:pt x="543" y="374"/>
                    <a:pt x="545" y="371"/>
                  </a:cubicBezTo>
                  <a:cubicBezTo>
                    <a:pt x="572" y="369"/>
                    <a:pt x="600" y="366"/>
                    <a:pt x="626" y="364"/>
                  </a:cubicBezTo>
                  <a:cubicBezTo>
                    <a:pt x="629" y="351"/>
                    <a:pt x="629" y="339"/>
                    <a:pt x="630" y="326"/>
                  </a:cubicBezTo>
                  <a:lnTo>
                    <a:pt x="630" y="315"/>
                  </a:lnTo>
                  <a:lnTo>
                    <a:pt x="630" y="305"/>
                  </a:lnTo>
                  <a:cubicBezTo>
                    <a:pt x="629" y="293"/>
                    <a:pt x="629" y="280"/>
                    <a:pt x="626" y="268"/>
                  </a:cubicBezTo>
                  <a:cubicBezTo>
                    <a:pt x="600" y="265"/>
                    <a:pt x="572" y="263"/>
                    <a:pt x="545" y="260"/>
                  </a:cubicBezTo>
                  <a:cubicBezTo>
                    <a:pt x="544" y="256"/>
                    <a:pt x="542" y="252"/>
                    <a:pt x="542" y="249"/>
                  </a:cubicBezTo>
                  <a:cubicBezTo>
                    <a:pt x="538" y="238"/>
                    <a:pt x="535" y="226"/>
                    <a:pt x="530" y="215"/>
                  </a:cubicBezTo>
                  <a:cubicBezTo>
                    <a:pt x="526" y="207"/>
                    <a:pt x="521" y="199"/>
                    <a:pt x="517" y="191"/>
                  </a:cubicBezTo>
                  <a:cubicBezTo>
                    <a:pt x="534" y="171"/>
                    <a:pt x="551" y="150"/>
                    <a:pt x="569" y="129"/>
                  </a:cubicBezTo>
                  <a:close/>
                  <a:moveTo>
                    <a:pt x="235" y="233"/>
                  </a:moveTo>
                  <a:cubicBezTo>
                    <a:pt x="257" y="209"/>
                    <a:pt x="285" y="198"/>
                    <a:pt x="316" y="199"/>
                  </a:cubicBezTo>
                  <a:cubicBezTo>
                    <a:pt x="349" y="198"/>
                    <a:pt x="375" y="209"/>
                    <a:pt x="399" y="233"/>
                  </a:cubicBezTo>
                  <a:cubicBezTo>
                    <a:pt x="421" y="255"/>
                    <a:pt x="432" y="283"/>
                    <a:pt x="432" y="314"/>
                  </a:cubicBezTo>
                  <a:cubicBezTo>
                    <a:pt x="432" y="346"/>
                    <a:pt x="421" y="373"/>
                    <a:pt x="399" y="396"/>
                  </a:cubicBezTo>
                  <a:cubicBezTo>
                    <a:pt x="375" y="419"/>
                    <a:pt x="349" y="430"/>
                    <a:pt x="316" y="430"/>
                  </a:cubicBezTo>
                  <a:cubicBezTo>
                    <a:pt x="285" y="430"/>
                    <a:pt x="257" y="419"/>
                    <a:pt x="235" y="396"/>
                  </a:cubicBezTo>
                  <a:cubicBezTo>
                    <a:pt x="212" y="373"/>
                    <a:pt x="201" y="346"/>
                    <a:pt x="201" y="314"/>
                  </a:cubicBezTo>
                  <a:cubicBezTo>
                    <a:pt x="201" y="283"/>
                    <a:pt x="212" y="255"/>
                    <a:pt x="235" y="233"/>
                  </a:cubicBez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Gears">
              <a:extLst>
                <a:ext uri="{FF2B5EF4-FFF2-40B4-BE49-F238E27FC236}">
                  <a16:creationId xmlns:a16="http://schemas.microsoft.com/office/drawing/2014/main" id="{3B25E218-D739-4698-A969-21BC1F124597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294" y="92"/>
              <a:ext cx="77" cy="78"/>
            </a:xfrm>
            <a:custGeom>
              <a:avLst/>
              <a:gdLst>
                <a:gd name="T0" fmla="*/ 98 w 197"/>
                <a:gd name="T1" fmla="*/ 0 h 199"/>
                <a:gd name="T2" fmla="*/ 28 w 197"/>
                <a:gd name="T3" fmla="*/ 29 h 199"/>
                <a:gd name="T4" fmla="*/ 0 w 197"/>
                <a:gd name="T5" fmla="*/ 99 h 199"/>
                <a:gd name="T6" fmla="*/ 28 w 197"/>
                <a:gd name="T7" fmla="*/ 169 h 199"/>
                <a:gd name="T8" fmla="*/ 28 w 197"/>
                <a:gd name="T9" fmla="*/ 169 h 199"/>
                <a:gd name="T10" fmla="*/ 98 w 197"/>
                <a:gd name="T11" fmla="*/ 199 h 199"/>
                <a:gd name="T12" fmla="*/ 168 w 197"/>
                <a:gd name="T13" fmla="*/ 169 h 199"/>
                <a:gd name="T14" fmla="*/ 168 w 197"/>
                <a:gd name="T15" fmla="*/ 169 h 199"/>
                <a:gd name="T16" fmla="*/ 197 w 197"/>
                <a:gd name="T17" fmla="*/ 99 h 199"/>
                <a:gd name="T18" fmla="*/ 197 w 197"/>
                <a:gd name="T19" fmla="*/ 99 h 199"/>
                <a:gd name="T20" fmla="*/ 168 w 197"/>
                <a:gd name="T21" fmla="*/ 29 h 199"/>
                <a:gd name="T22" fmla="*/ 98 w 197"/>
                <a:gd name="T23" fmla="*/ 0 h 199"/>
                <a:gd name="T24" fmla="*/ 46 w 197"/>
                <a:gd name="T25" fmla="*/ 46 h 199"/>
                <a:gd name="T26" fmla="*/ 98 w 197"/>
                <a:gd name="T27" fmla="*/ 25 h 199"/>
                <a:gd name="T28" fmla="*/ 151 w 197"/>
                <a:gd name="T29" fmla="*/ 46 h 199"/>
                <a:gd name="T30" fmla="*/ 172 w 197"/>
                <a:gd name="T31" fmla="*/ 99 h 199"/>
                <a:gd name="T32" fmla="*/ 172 w 197"/>
                <a:gd name="T33" fmla="*/ 99 h 199"/>
                <a:gd name="T34" fmla="*/ 151 w 197"/>
                <a:gd name="T35" fmla="*/ 151 h 199"/>
                <a:gd name="T36" fmla="*/ 98 w 197"/>
                <a:gd name="T37" fmla="*/ 174 h 199"/>
                <a:gd name="T38" fmla="*/ 46 w 197"/>
                <a:gd name="T39" fmla="*/ 151 h 199"/>
                <a:gd name="T40" fmla="*/ 24 w 197"/>
                <a:gd name="T41" fmla="*/ 99 h 199"/>
                <a:gd name="T42" fmla="*/ 46 w 197"/>
                <a:gd name="T43" fmla="*/ 4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7" h="199">
                  <a:moveTo>
                    <a:pt x="98" y="0"/>
                  </a:moveTo>
                  <a:cubicBezTo>
                    <a:pt x="71" y="0"/>
                    <a:pt x="48" y="10"/>
                    <a:pt x="28" y="29"/>
                  </a:cubicBezTo>
                  <a:cubicBezTo>
                    <a:pt x="10" y="49"/>
                    <a:pt x="0" y="71"/>
                    <a:pt x="0" y="99"/>
                  </a:cubicBezTo>
                  <a:cubicBezTo>
                    <a:pt x="0" y="126"/>
                    <a:pt x="10" y="149"/>
                    <a:pt x="28" y="169"/>
                  </a:cubicBezTo>
                  <a:lnTo>
                    <a:pt x="28" y="169"/>
                  </a:lnTo>
                  <a:cubicBezTo>
                    <a:pt x="48" y="189"/>
                    <a:pt x="71" y="199"/>
                    <a:pt x="98" y="199"/>
                  </a:cubicBezTo>
                  <a:cubicBezTo>
                    <a:pt x="126" y="199"/>
                    <a:pt x="148" y="189"/>
                    <a:pt x="168" y="169"/>
                  </a:cubicBezTo>
                  <a:lnTo>
                    <a:pt x="168" y="169"/>
                  </a:lnTo>
                  <a:cubicBezTo>
                    <a:pt x="188" y="149"/>
                    <a:pt x="197" y="126"/>
                    <a:pt x="197" y="99"/>
                  </a:cubicBezTo>
                  <a:lnTo>
                    <a:pt x="197" y="99"/>
                  </a:lnTo>
                  <a:cubicBezTo>
                    <a:pt x="197" y="71"/>
                    <a:pt x="188" y="49"/>
                    <a:pt x="168" y="29"/>
                  </a:cubicBezTo>
                  <a:cubicBezTo>
                    <a:pt x="148" y="10"/>
                    <a:pt x="126" y="0"/>
                    <a:pt x="98" y="0"/>
                  </a:cubicBezTo>
                  <a:close/>
                  <a:moveTo>
                    <a:pt x="46" y="46"/>
                  </a:moveTo>
                  <a:cubicBezTo>
                    <a:pt x="61" y="32"/>
                    <a:pt x="78" y="25"/>
                    <a:pt x="98" y="25"/>
                  </a:cubicBezTo>
                  <a:cubicBezTo>
                    <a:pt x="118" y="25"/>
                    <a:pt x="136" y="33"/>
                    <a:pt x="151" y="46"/>
                  </a:cubicBezTo>
                  <a:cubicBezTo>
                    <a:pt x="166" y="61"/>
                    <a:pt x="172" y="78"/>
                    <a:pt x="172" y="99"/>
                  </a:cubicBezTo>
                  <a:lnTo>
                    <a:pt x="172" y="99"/>
                  </a:lnTo>
                  <a:cubicBezTo>
                    <a:pt x="172" y="120"/>
                    <a:pt x="166" y="138"/>
                    <a:pt x="151" y="151"/>
                  </a:cubicBezTo>
                  <a:cubicBezTo>
                    <a:pt x="136" y="166"/>
                    <a:pt x="118" y="174"/>
                    <a:pt x="98" y="174"/>
                  </a:cubicBezTo>
                  <a:cubicBezTo>
                    <a:pt x="78" y="174"/>
                    <a:pt x="61" y="166"/>
                    <a:pt x="46" y="151"/>
                  </a:cubicBezTo>
                  <a:cubicBezTo>
                    <a:pt x="32" y="137"/>
                    <a:pt x="24" y="120"/>
                    <a:pt x="24" y="99"/>
                  </a:cubicBezTo>
                  <a:cubicBezTo>
                    <a:pt x="25" y="79"/>
                    <a:pt x="32" y="61"/>
                    <a:pt x="46" y="46"/>
                  </a:cubicBez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Gears">
              <a:extLst>
                <a:ext uri="{FF2B5EF4-FFF2-40B4-BE49-F238E27FC236}">
                  <a16:creationId xmlns:a16="http://schemas.microsoft.com/office/drawing/2014/main" id="{3823AF43-0967-4F2F-8A10-FC0CB7FF41FC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8" y="167"/>
              <a:ext cx="316" cy="318"/>
            </a:xfrm>
            <a:custGeom>
              <a:avLst/>
              <a:gdLst>
                <a:gd name="T0" fmla="*/ 497 w 810"/>
                <a:gd name="T1" fmla="*/ 8 h 812"/>
                <a:gd name="T2" fmla="*/ 416 w 810"/>
                <a:gd name="T3" fmla="*/ 98 h 812"/>
                <a:gd name="T4" fmla="*/ 394 w 810"/>
                <a:gd name="T5" fmla="*/ 98 h 812"/>
                <a:gd name="T6" fmla="*/ 318 w 810"/>
                <a:gd name="T7" fmla="*/ 112 h 812"/>
                <a:gd name="T8" fmla="*/ 255 w 810"/>
                <a:gd name="T9" fmla="*/ 26 h 812"/>
                <a:gd name="T10" fmla="*/ 199 w 810"/>
                <a:gd name="T11" fmla="*/ 53 h 812"/>
                <a:gd name="T12" fmla="*/ 150 w 810"/>
                <a:gd name="T13" fmla="*/ 88 h 812"/>
                <a:gd name="T14" fmla="*/ 170 w 810"/>
                <a:gd name="T15" fmla="*/ 208 h 812"/>
                <a:gd name="T16" fmla="*/ 144 w 810"/>
                <a:gd name="T17" fmla="*/ 243 h 812"/>
                <a:gd name="T18" fmla="*/ 30 w 810"/>
                <a:gd name="T19" fmla="*/ 242 h 812"/>
                <a:gd name="T20" fmla="*/ 0 w 810"/>
                <a:gd name="T21" fmla="*/ 361 h 812"/>
                <a:gd name="T22" fmla="*/ 97 w 810"/>
                <a:gd name="T23" fmla="*/ 416 h 812"/>
                <a:gd name="T24" fmla="*/ 111 w 810"/>
                <a:gd name="T25" fmla="*/ 497 h 812"/>
                <a:gd name="T26" fmla="*/ 87 w 810"/>
                <a:gd name="T27" fmla="*/ 663 h 812"/>
                <a:gd name="T28" fmla="*/ 184 w 810"/>
                <a:gd name="T29" fmla="*/ 620 h 812"/>
                <a:gd name="T30" fmla="*/ 206 w 810"/>
                <a:gd name="T31" fmla="*/ 641 h 812"/>
                <a:gd name="T32" fmla="*/ 260 w 810"/>
                <a:gd name="T33" fmla="*/ 677 h 812"/>
                <a:gd name="T34" fmla="*/ 286 w 810"/>
                <a:gd name="T35" fmla="*/ 796 h 812"/>
                <a:gd name="T36" fmla="*/ 361 w 810"/>
                <a:gd name="T37" fmla="*/ 812 h 812"/>
                <a:gd name="T38" fmla="*/ 414 w 810"/>
                <a:gd name="T39" fmla="*/ 712 h 812"/>
                <a:gd name="T40" fmla="*/ 458 w 810"/>
                <a:gd name="T41" fmla="*/ 708 h 812"/>
                <a:gd name="T42" fmla="*/ 496 w 810"/>
                <a:gd name="T43" fmla="*/ 700 h 812"/>
                <a:gd name="T44" fmla="*/ 575 w 810"/>
                <a:gd name="T45" fmla="*/ 777 h 812"/>
                <a:gd name="T46" fmla="*/ 663 w 810"/>
                <a:gd name="T47" fmla="*/ 722 h 812"/>
                <a:gd name="T48" fmla="*/ 619 w 810"/>
                <a:gd name="T49" fmla="*/ 626 h 812"/>
                <a:gd name="T50" fmla="*/ 665 w 810"/>
                <a:gd name="T51" fmla="*/ 568 h 812"/>
                <a:gd name="T52" fmla="*/ 674 w 810"/>
                <a:gd name="T53" fmla="*/ 552 h 812"/>
                <a:gd name="T54" fmla="*/ 795 w 810"/>
                <a:gd name="T55" fmla="*/ 523 h 812"/>
                <a:gd name="T56" fmla="*/ 803 w 810"/>
                <a:gd name="T57" fmla="*/ 498 h 812"/>
                <a:gd name="T58" fmla="*/ 711 w 810"/>
                <a:gd name="T59" fmla="*/ 413 h 812"/>
                <a:gd name="T60" fmla="*/ 706 w 810"/>
                <a:gd name="T61" fmla="*/ 352 h 812"/>
                <a:gd name="T62" fmla="*/ 784 w 810"/>
                <a:gd name="T63" fmla="*/ 256 h 812"/>
                <a:gd name="T64" fmla="*/ 723 w 810"/>
                <a:gd name="T65" fmla="*/ 151 h 812"/>
                <a:gd name="T66" fmla="*/ 628 w 810"/>
                <a:gd name="T67" fmla="*/ 195 h 812"/>
                <a:gd name="T68" fmla="*/ 566 w 810"/>
                <a:gd name="T69" fmla="*/ 146 h 812"/>
                <a:gd name="T70" fmla="*/ 570 w 810"/>
                <a:gd name="T71" fmla="*/ 32 h 812"/>
                <a:gd name="T72" fmla="*/ 510 w 810"/>
                <a:gd name="T73" fmla="*/ 12 h 812"/>
                <a:gd name="T74" fmla="*/ 263 w 810"/>
                <a:gd name="T75" fmla="*/ 366 h 812"/>
                <a:gd name="T76" fmla="*/ 445 w 810"/>
                <a:gd name="T77" fmla="*/ 260 h 812"/>
                <a:gd name="T78" fmla="*/ 551 w 810"/>
                <a:gd name="T79" fmla="*/ 443 h 812"/>
                <a:gd name="T80" fmla="*/ 369 w 810"/>
                <a:gd name="T81" fmla="*/ 548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10" h="812">
                  <a:moveTo>
                    <a:pt x="510" y="12"/>
                  </a:moveTo>
                  <a:cubicBezTo>
                    <a:pt x="505" y="10"/>
                    <a:pt x="501" y="8"/>
                    <a:pt x="497" y="8"/>
                  </a:cubicBezTo>
                  <a:cubicBezTo>
                    <a:pt x="482" y="5"/>
                    <a:pt x="468" y="2"/>
                    <a:pt x="452" y="0"/>
                  </a:cubicBezTo>
                  <a:cubicBezTo>
                    <a:pt x="439" y="33"/>
                    <a:pt x="427" y="66"/>
                    <a:pt x="416" y="98"/>
                  </a:cubicBezTo>
                  <a:lnTo>
                    <a:pt x="399" y="98"/>
                  </a:lnTo>
                  <a:lnTo>
                    <a:pt x="394" y="98"/>
                  </a:lnTo>
                  <a:cubicBezTo>
                    <a:pt x="379" y="100"/>
                    <a:pt x="365" y="101"/>
                    <a:pt x="351" y="103"/>
                  </a:cubicBezTo>
                  <a:cubicBezTo>
                    <a:pt x="340" y="105"/>
                    <a:pt x="329" y="108"/>
                    <a:pt x="318" y="112"/>
                  </a:cubicBezTo>
                  <a:cubicBezTo>
                    <a:pt x="298" y="83"/>
                    <a:pt x="276" y="55"/>
                    <a:pt x="256" y="27"/>
                  </a:cubicBezTo>
                  <a:lnTo>
                    <a:pt x="255" y="26"/>
                  </a:lnTo>
                  <a:cubicBezTo>
                    <a:pt x="247" y="28"/>
                    <a:pt x="240" y="31"/>
                    <a:pt x="234" y="35"/>
                  </a:cubicBezTo>
                  <a:cubicBezTo>
                    <a:pt x="221" y="40"/>
                    <a:pt x="210" y="46"/>
                    <a:pt x="199" y="53"/>
                  </a:cubicBezTo>
                  <a:cubicBezTo>
                    <a:pt x="181" y="62"/>
                    <a:pt x="165" y="73"/>
                    <a:pt x="150" y="87"/>
                  </a:cubicBezTo>
                  <a:lnTo>
                    <a:pt x="150" y="88"/>
                  </a:lnTo>
                  <a:cubicBezTo>
                    <a:pt x="165" y="120"/>
                    <a:pt x="179" y="151"/>
                    <a:pt x="194" y="182"/>
                  </a:cubicBezTo>
                  <a:cubicBezTo>
                    <a:pt x="185" y="191"/>
                    <a:pt x="177" y="198"/>
                    <a:pt x="170" y="208"/>
                  </a:cubicBezTo>
                  <a:cubicBezTo>
                    <a:pt x="160" y="218"/>
                    <a:pt x="151" y="231"/>
                    <a:pt x="144" y="243"/>
                  </a:cubicBezTo>
                  <a:lnTo>
                    <a:pt x="144" y="243"/>
                  </a:lnTo>
                  <a:cubicBezTo>
                    <a:pt x="140" y="248"/>
                    <a:pt x="137" y="253"/>
                    <a:pt x="135" y="260"/>
                  </a:cubicBezTo>
                  <a:cubicBezTo>
                    <a:pt x="100" y="253"/>
                    <a:pt x="65" y="247"/>
                    <a:pt x="30" y="242"/>
                  </a:cubicBezTo>
                  <a:cubicBezTo>
                    <a:pt x="24" y="257"/>
                    <a:pt x="17" y="272"/>
                    <a:pt x="12" y="288"/>
                  </a:cubicBezTo>
                  <a:cubicBezTo>
                    <a:pt x="7" y="313"/>
                    <a:pt x="2" y="337"/>
                    <a:pt x="0" y="361"/>
                  </a:cubicBezTo>
                  <a:lnTo>
                    <a:pt x="97" y="398"/>
                  </a:lnTo>
                  <a:lnTo>
                    <a:pt x="97" y="416"/>
                  </a:lnTo>
                  <a:cubicBezTo>
                    <a:pt x="97" y="430"/>
                    <a:pt x="99" y="445"/>
                    <a:pt x="102" y="460"/>
                  </a:cubicBezTo>
                  <a:cubicBezTo>
                    <a:pt x="104" y="472"/>
                    <a:pt x="108" y="485"/>
                    <a:pt x="111" y="497"/>
                  </a:cubicBezTo>
                  <a:cubicBezTo>
                    <a:pt x="82" y="517"/>
                    <a:pt x="55" y="537"/>
                    <a:pt x="26" y="558"/>
                  </a:cubicBezTo>
                  <a:cubicBezTo>
                    <a:pt x="41" y="596"/>
                    <a:pt x="62" y="631"/>
                    <a:pt x="87" y="663"/>
                  </a:cubicBezTo>
                  <a:lnTo>
                    <a:pt x="89" y="663"/>
                  </a:lnTo>
                  <a:cubicBezTo>
                    <a:pt x="120" y="648"/>
                    <a:pt x="151" y="635"/>
                    <a:pt x="184" y="620"/>
                  </a:cubicBezTo>
                  <a:lnTo>
                    <a:pt x="184" y="620"/>
                  </a:lnTo>
                  <a:cubicBezTo>
                    <a:pt x="191" y="627"/>
                    <a:pt x="199" y="633"/>
                    <a:pt x="206" y="641"/>
                  </a:cubicBezTo>
                  <a:cubicBezTo>
                    <a:pt x="217" y="651"/>
                    <a:pt x="231" y="660"/>
                    <a:pt x="246" y="668"/>
                  </a:cubicBezTo>
                  <a:cubicBezTo>
                    <a:pt x="250" y="671"/>
                    <a:pt x="255" y="673"/>
                    <a:pt x="260" y="677"/>
                  </a:cubicBezTo>
                  <a:cubicBezTo>
                    <a:pt x="254" y="711"/>
                    <a:pt x="249" y="746"/>
                    <a:pt x="244" y="781"/>
                  </a:cubicBezTo>
                  <a:cubicBezTo>
                    <a:pt x="258" y="787"/>
                    <a:pt x="271" y="792"/>
                    <a:pt x="286" y="796"/>
                  </a:cubicBezTo>
                  <a:cubicBezTo>
                    <a:pt x="290" y="797"/>
                    <a:pt x="297" y="800"/>
                    <a:pt x="310" y="802"/>
                  </a:cubicBezTo>
                  <a:cubicBezTo>
                    <a:pt x="327" y="807"/>
                    <a:pt x="345" y="810"/>
                    <a:pt x="361" y="812"/>
                  </a:cubicBezTo>
                  <a:cubicBezTo>
                    <a:pt x="375" y="778"/>
                    <a:pt x="388" y="746"/>
                    <a:pt x="399" y="712"/>
                  </a:cubicBezTo>
                  <a:lnTo>
                    <a:pt x="414" y="712"/>
                  </a:lnTo>
                  <a:lnTo>
                    <a:pt x="415" y="712"/>
                  </a:lnTo>
                  <a:cubicBezTo>
                    <a:pt x="430" y="712"/>
                    <a:pt x="444" y="711"/>
                    <a:pt x="458" y="708"/>
                  </a:cubicBezTo>
                  <a:cubicBezTo>
                    <a:pt x="470" y="706"/>
                    <a:pt x="483" y="702"/>
                    <a:pt x="495" y="698"/>
                  </a:cubicBezTo>
                  <a:cubicBezTo>
                    <a:pt x="495" y="698"/>
                    <a:pt x="495" y="700"/>
                    <a:pt x="496" y="700"/>
                  </a:cubicBezTo>
                  <a:cubicBezTo>
                    <a:pt x="516" y="728"/>
                    <a:pt x="538" y="757"/>
                    <a:pt x="558" y="786"/>
                  </a:cubicBezTo>
                  <a:cubicBezTo>
                    <a:pt x="564" y="782"/>
                    <a:pt x="570" y="780"/>
                    <a:pt x="575" y="777"/>
                  </a:cubicBezTo>
                  <a:cubicBezTo>
                    <a:pt x="588" y="772"/>
                    <a:pt x="599" y="766"/>
                    <a:pt x="610" y="760"/>
                  </a:cubicBezTo>
                  <a:cubicBezTo>
                    <a:pt x="629" y="748"/>
                    <a:pt x="646" y="736"/>
                    <a:pt x="663" y="722"/>
                  </a:cubicBezTo>
                  <a:cubicBezTo>
                    <a:pt x="649" y="690"/>
                    <a:pt x="634" y="658"/>
                    <a:pt x="619" y="626"/>
                  </a:cubicBezTo>
                  <a:lnTo>
                    <a:pt x="619" y="626"/>
                  </a:lnTo>
                  <a:cubicBezTo>
                    <a:pt x="626" y="618"/>
                    <a:pt x="633" y="611"/>
                    <a:pt x="640" y="603"/>
                  </a:cubicBezTo>
                  <a:cubicBezTo>
                    <a:pt x="649" y="592"/>
                    <a:pt x="658" y="580"/>
                    <a:pt x="665" y="568"/>
                  </a:cubicBezTo>
                  <a:cubicBezTo>
                    <a:pt x="665" y="567"/>
                    <a:pt x="666" y="566"/>
                    <a:pt x="666" y="565"/>
                  </a:cubicBezTo>
                  <a:cubicBezTo>
                    <a:pt x="669" y="561"/>
                    <a:pt x="671" y="556"/>
                    <a:pt x="674" y="552"/>
                  </a:cubicBezTo>
                  <a:cubicBezTo>
                    <a:pt x="709" y="558"/>
                    <a:pt x="744" y="563"/>
                    <a:pt x="779" y="570"/>
                  </a:cubicBezTo>
                  <a:cubicBezTo>
                    <a:pt x="785" y="555"/>
                    <a:pt x="790" y="540"/>
                    <a:pt x="795" y="523"/>
                  </a:cubicBezTo>
                  <a:cubicBezTo>
                    <a:pt x="796" y="520"/>
                    <a:pt x="798" y="516"/>
                    <a:pt x="799" y="511"/>
                  </a:cubicBezTo>
                  <a:cubicBezTo>
                    <a:pt x="800" y="507"/>
                    <a:pt x="800" y="503"/>
                    <a:pt x="803" y="498"/>
                  </a:cubicBezTo>
                  <a:cubicBezTo>
                    <a:pt x="805" y="482"/>
                    <a:pt x="809" y="466"/>
                    <a:pt x="810" y="451"/>
                  </a:cubicBezTo>
                  <a:cubicBezTo>
                    <a:pt x="778" y="437"/>
                    <a:pt x="744" y="426"/>
                    <a:pt x="711" y="413"/>
                  </a:cubicBezTo>
                  <a:lnTo>
                    <a:pt x="711" y="398"/>
                  </a:lnTo>
                  <a:cubicBezTo>
                    <a:pt x="711" y="383"/>
                    <a:pt x="710" y="367"/>
                    <a:pt x="706" y="352"/>
                  </a:cubicBezTo>
                  <a:cubicBezTo>
                    <a:pt x="705" y="341"/>
                    <a:pt x="701" y="330"/>
                    <a:pt x="699" y="318"/>
                  </a:cubicBezTo>
                  <a:cubicBezTo>
                    <a:pt x="728" y="298"/>
                    <a:pt x="756" y="277"/>
                    <a:pt x="784" y="256"/>
                  </a:cubicBezTo>
                  <a:lnTo>
                    <a:pt x="785" y="256"/>
                  </a:lnTo>
                  <a:cubicBezTo>
                    <a:pt x="770" y="218"/>
                    <a:pt x="750" y="183"/>
                    <a:pt x="723" y="151"/>
                  </a:cubicBezTo>
                  <a:lnTo>
                    <a:pt x="723" y="151"/>
                  </a:lnTo>
                  <a:cubicBezTo>
                    <a:pt x="690" y="165"/>
                    <a:pt x="659" y="180"/>
                    <a:pt x="628" y="195"/>
                  </a:cubicBezTo>
                  <a:cubicBezTo>
                    <a:pt x="619" y="186"/>
                    <a:pt x="610" y="177"/>
                    <a:pt x="601" y="170"/>
                  </a:cubicBezTo>
                  <a:cubicBezTo>
                    <a:pt x="590" y="161"/>
                    <a:pt x="579" y="152"/>
                    <a:pt x="566" y="146"/>
                  </a:cubicBezTo>
                  <a:cubicBezTo>
                    <a:pt x="563" y="142"/>
                    <a:pt x="557" y="140"/>
                    <a:pt x="554" y="137"/>
                  </a:cubicBezTo>
                  <a:cubicBezTo>
                    <a:pt x="559" y="102"/>
                    <a:pt x="565" y="67"/>
                    <a:pt x="570" y="32"/>
                  </a:cubicBezTo>
                  <a:cubicBezTo>
                    <a:pt x="555" y="26"/>
                    <a:pt x="539" y="20"/>
                    <a:pt x="523" y="15"/>
                  </a:cubicBezTo>
                  <a:cubicBezTo>
                    <a:pt x="519" y="13"/>
                    <a:pt x="514" y="12"/>
                    <a:pt x="510" y="12"/>
                  </a:cubicBezTo>
                  <a:close/>
                  <a:moveTo>
                    <a:pt x="278" y="480"/>
                  </a:moveTo>
                  <a:cubicBezTo>
                    <a:pt x="256" y="443"/>
                    <a:pt x="251" y="406"/>
                    <a:pt x="263" y="366"/>
                  </a:cubicBezTo>
                  <a:cubicBezTo>
                    <a:pt x="273" y="326"/>
                    <a:pt x="296" y="296"/>
                    <a:pt x="333" y="275"/>
                  </a:cubicBezTo>
                  <a:cubicBezTo>
                    <a:pt x="368" y="255"/>
                    <a:pt x="406" y="250"/>
                    <a:pt x="445" y="260"/>
                  </a:cubicBezTo>
                  <a:cubicBezTo>
                    <a:pt x="485" y="271"/>
                    <a:pt x="516" y="293"/>
                    <a:pt x="536" y="330"/>
                  </a:cubicBezTo>
                  <a:cubicBezTo>
                    <a:pt x="558" y="366"/>
                    <a:pt x="563" y="403"/>
                    <a:pt x="551" y="443"/>
                  </a:cubicBezTo>
                  <a:cubicBezTo>
                    <a:pt x="541" y="483"/>
                    <a:pt x="518" y="513"/>
                    <a:pt x="483" y="533"/>
                  </a:cubicBezTo>
                  <a:cubicBezTo>
                    <a:pt x="445" y="555"/>
                    <a:pt x="408" y="559"/>
                    <a:pt x="369" y="548"/>
                  </a:cubicBezTo>
                  <a:cubicBezTo>
                    <a:pt x="329" y="538"/>
                    <a:pt x="298" y="515"/>
                    <a:pt x="278" y="480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Gears">
              <a:extLst>
                <a:ext uri="{FF2B5EF4-FFF2-40B4-BE49-F238E27FC236}">
                  <a16:creationId xmlns:a16="http://schemas.microsoft.com/office/drawing/2014/main" id="{D3775CF3-3C3C-4047-B4BD-6153A8499BF3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115" y="273"/>
              <a:ext cx="104" cy="104"/>
            </a:xfrm>
            <a:custGeom>
              <a:avLst/>
              <a:gdLst>
                <a:gd name="T0" fmla="*/ 10 w 266"/>
                <a:gd name="T1" fmla="*/ 101 h 266"/>
                <a:gd name="T2" fmla="*/ 21 w 266"/>
                <a:gd name="T3" fmla="*/ 197 h 266"/>
                <a:gd name="T4" fmla="*/ 23 w 266"/>
                <a:gd name="T5" fmla="*/ 197 h 266"/>
                <a:gd name="T6" fmla="*/ 100 w 266"/>
                <a:gd name="T7" fmla="*/ 257 h 266"/>
                <a:gd name="T8" fmla="*/ 197 w 266"/>
                <a:gd name="T9" fmla="*/ 245 h 266"/>
                <a:gd name="T10" fmla="*/ 197 w 266"/>
                <a:gd name="T11" fmla="*/ 245 h 266"/>
                <a:gd name="T12" fmla="*/ 257 w 266"/>
                <a:gd name="T13" fmla="*/ 167 h 266"/>
                <a:gd name="T14" fmla="*/ 257 w 266"/>
                <a:gd name="T15" fmla="*/ 166 h 266"/>
                <a:gd name="T16" fmla="*/ 244 w 266"/>
                <a:gd name="T17" fmla="*/ 70 h 266"/>
                <a:gd name="T18" fmla="*/ 166 w 266"/>
                <a:gd name="T19" fmla="*/ 10 h 266"/>
                <a:gd name="T20" fmla="*/ 69 w 266"/>
                <a:gd name="T21" fmla="*/ 22 h 266"/>
                <a:gd name="T22" fmla="*/ 10 w 266"/>
                <a:gd name="T23" fmla="*/ 101 h 266"/>
                <a:gd name="T24" fmla="*/ 85 w 266"/>
                <a:gd name="T25" fmla="*/ 51 h 266"/>
                <a:gd name="T26" fmla="*/ 158 w 266"/>
                <a:gd name="T27" fmla="*/ 41 h 266"/>
                <a:gd name="T28" fmla="*/ 216 w 266"/>
                <a:gd name="T29" fmla="*/ 86 h 266"/>
                <a:gd name="T30" fmla="*/ 226 w 266"/>
                <a:gd name="T31" fmla="*/ 159 h 266"/>
                <a:gd name="T32" fmla="*/ 181 w 266"/>
                <a:gd name="T33" fmla="*/ 216 h 266"/>
                <a:gd name="T34" fmla="*/ 181 w 266"/>
                <a:gd name="T35" fmla="*/ 217 h 266"/>
                <a:gd name="T36" fmla="*/ 109 w 266"/>
                <a:gd name="T37" fmla="*/ 226 h 266"/>
                <a:gd name="T38" fmla="*/ 50 w 266"/>
                <a:gd name="T39" fmla="*/ 181 h 266"/>
                <a:gd name="T40" fmla="*/ 40 w 266"/>
                <a:gd name="T41" fmla="*/ 109 h 266"/>
                <a:gd name="T42" fmla="*/ 85 w 266"/>
                <a:gd name="T43" fmla="*/ 5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6" h="266">
                  <a:moveTo>
                    <a:pt x="10" y="101"/>
                  </a:moveTo>
                  <a:cubicBezTo>
                    <a:pt x="0" y="135"/>
                    <a:pt x="4" y="167"/>
                    <a:pt x="21" y="197"/>
                  </a:cubicBezTo>
                  <a:lnTo>
                    <a:pt x="23" y="197"/>
                  </a:lnTo>
                  <a:cubicBezTo>
                    <a:pt x="40" y="228"/>
                    <a:pt x="66" y="247"/>
                    <a:pt x="100" y="257"/>
                  </a:cubicBezTo>
                  <a:cubicBezTo>
                    <a:pt x="134" y="266"/>
                    <a:pt x="166" y="262"/>
                    <a:pt x="197" y="245"/>
                  </a:cubicBezTo>
                  <a:lnTo>
                    <a:pt x="197" y="245"/>
                  </a:lnTo>
                  <a:cubicBezTo>
                    <a:pt x="229" y="226"/>
                    <a:pt x="248" y="201"/>
                    <a:pt x="257" y="167"/>
                  </a:cubicBezTo>
                  <a:lnTo>
                    <a:pt x="257" y="166"/>
                  </a:lnTo>
                  <a:cubicBezTo>
                    <a:pt x="266" y="132"/>
                    <a:pt x="261" y="100"/>
                    <a:pt x="244" y="70"/>
                  </a:cubicBezTo>
                  <a:cubicBezTo>
                    <a:pt x="226" y="38"/>
                    <a:pt x="200" y="18"/>
                    <a:pt x="166" y="10"/>
                  </a:cubicBezTo>
                  <a:cubicBezTo>
                    <a:pt x="132" y="0"/>
                    <a:pt x="99" y="5"/>
                    <a:pt x="69" y="22"/>
                  </a:cubicBezTo>
                  <a:cubicBezTo>
                    <a:pt x="38" y="40"/>
                    <a:pt x="19" y="66"/>
                    <a:pt x="10" y="101"/>
                  </a:cubicBezTo>
                  <a:close/>
                  <a:moveTo>
                    <a:pt x="85" y="51"/>
                  </a:moveTo>
                  <a:cubicBezTo>
                    <a:pt x="109" y="37"/>
                    <a:pt x="133" y="34"/>
                    <a:pt x="158" y="41"/>
                  </a:cubicBezTo>
                  <a:cubicBezTo>
                    <a:pt x="183" y="47"/>
                    <a:pt x="203" y="62"/>
                    <a:pt x="216" y="86"/>
                  </a:cubicBezTo>
                  <a:cubicBezTo>
                    <a:pt x="230" y="109"/>
                    <a:pt x="233" y="134"/>
                    <a:pt x="226" y="159"/>
                  </a:cubicBezTo>
                  <a:cubicBezTo>
                    <a:pt x="219" y="184"/>
                    <a:pt x="204" y="203"/>
                    <a:pt x="181" y="216"/>
                  </a:cubicBezTo>
                  <a:lnTo>
                    <a:pt x="181" y="217"/>
                  </a:lnTo>
                  <a:cubicBezTo>
                    <a:pt x="158" y="230"/>
                    <a:pt x="134" y="233"/>
                    <a:pt x="109" y="226"/>
                  </a:cubicBezTo>
                  <a:cubicBezTo>
                    <a:pt x="83" y="220"/>
                    <a:pt x="64" y="205"/>
                    <a:pt x="50" y="181"/>
                  </a:cubicBezTo>
                  <a:cubicBezTo>
                    <a:pt x="38" y="159"/>
                    <a:pt x="34" y="135"/>
                    <a:pt x="40" y="109"/>
                  </a:cubicBezTo>
                  <a:cubicBezTo>
                    <a:pt x="48" y="84"/>
                    <a:pt x="63" y="65"/>
                    <a:pt x="85" y="51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" name="Pencil4">
            <a:extLst>
              <a:ext uri="{FF2B5EF4-FFF2-40B4-BE49-F238E27FC236}">
                <a16:creationId xmlns:a16="http://schemas.microsoft.com/office/drawing/2014/main" id="{EA364C8A-F0FF-4F10-B672-71371D7EEB1B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 rot="853196" flipH="1">
            <a:off x="-564232" y="-84394"/>
            <a:ext cx="2738861" cy="2741821"/>
          </a:xfrm>
          <a:custGeom>
            <a:avLst/>
            <a:gdLst>
              <a:gd name="T0" fmla="*/ 75 w 200"/>
              <a:gd name="T1" fmla="*/ 125 h 200"/>
              <a:gd name="T2" fmla="*/ 100 w 200"/>
              <a:gd name="T3" fmla="*/ 113 h 200"/>
              <a:gd name="T4" fmla="*/ 188 w 200"/>
              <a:gd name="T5" fmla="*/ 25 h 200"/>
              <a:gd name="T6" fmla="*/ 175 w 200"/>
              <a:gd name="T7" fmla="*/ 13 h 200"/>
              <a:gd name="T8" fmla="*/ 88 w 200"/>
              <a:gd name="T9" fmla="*/ 100 h 200"/>
              <a:gd name="T10" fmla="*/ 75 w 200"/>
              <a:gd name="T11" fmla="*/ 125 h 200"/>
              <a:gd name="T12" fmla="*/ 56 w 200"/>
              <a:gd name="T13" fmla="*/ 169 h 200"/>
              <a:gd name="T14" fmla="*/ 31 w 200"/>
              <a:gd name="T15" fmla="*/ 143 h 200"/>
              <a:gd name="T16" fmla="*/ 50 w 200"/>
              <a:gd name="T17" fmla="*/ 90 h 200"/>
              <a:gd name="T18" fmla="*/ 75 w 200"/>
              <a:gd name="T19" fmla="*/ 75 h 200"/>
              <a:gd name="T20" fmla="*/ 150 w 200"/>
              <a:gd name="T21" fmla="*/ 0 h 200"/>
              <a:gd name="T22" fmla="*/ 112 w 200"/>
              <a:gd name="T23" fmla="*/ 0 h 200"/>
              <a:gd name="T24" fmla="*/ 37 w 200"/>
              <a:gd name="T25" fmla="*/ 75 h 200"/>
              <a:gd name="T26" fmla="*/ 0 w 200"/>
              <a:gd name="T27" fmla="*/ 200 h 200"/>
              <a:gd name="T28" fmla="*/ 125 w 200"/>
              <a:gd name="T29" fmla="*/ 163 h 200"/>
              <a:gd name="T30" fmla="*/ 200 w 200"/>
              <a:gd name="T31" fmla="*/ 88 h 200"/>
              <a:gd name="T32" fmla="*/ 200 w 200"/>
              <a:gd name="T33" fmla="*/ 50 h 200"/>
              <a:gd name="T34" fmla="*/ 125 w 200"/>
              <a:gd name="T35" fmla="*/ 125 h 200"/>
              <a:gd name="T36" fmla="*/ 110 w 200"/>
              <a:gd name="T37" fmla="*/ 150 h 200"/>
              <a:gd name="T38" fmla="*/ 56 w 200"/>
              <a:gd name="T39" fmla="*/ 169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0" h="200">
                <a:moveTo>
                  <a:pt x="75" y="125"/>
                </a:moveTo>
                <a:lnTo>
                  <a:pt x="100" y="113"/>
                </a:lnTo>
                <a:lnTo>
                  <a:pt x="188" y="25"/>
                </a:lnTo>
                <a:lnTo>
                  <a:pt x="175" y="13"/>
                </a:lnTo>
                <a:lnTo>
                  <a:pt x="88" y="100"/>
                </a:lnTo>
                <a:lnTo>
                  <a:pt x="75" y="125"/>
                </a:lnTo>
                <a:close/>
                <a:moveTo>
                  <a:pt x="56" y="169"/>
                </a:moveTo>
                <a:cubicBezTo>
                  <a:pt x="50" y="156"/>
                  <a:pt x="44" y="150"/>
                  <a:pt x="31" y="143"/>
                </a:cubicBezTo>
                <a:lnTo>
                  <a:pt x="50" y="90"/>
                </a:lnTo>
                <a:lnTo>
                  <a:pt x="75" y="75"/>
                </a:lnTo>
                <a:lnTo>
                  <a:pt x="150" y="0"/>
                </a:lnTo>
                <a:lnTo>
                  <a:pt x="112" y="0"/>
                </a:lnTo>
                <a:lnTo>
                  <a:pt x="37" y="75"/>
                </a:lnTo>
                <a:lnTo>
                  <a:pt x="0" y="200"/>
                </a:lnTo>
                <a:lnTo>
                  <a:pt x="125" y="163"/>
                </a:lnTo>
                <a:lnTo>
                  <a:pt x="200" y="88"/>
                </a:lnTo>
                <a:lnTo>
                  <a:pt x="200" y="50"/>
                </a:lnTo>
                <a:lnTo>
                  <a:pt x="125" y="125"/>
                </a:lnTo>
                <a:lnTo>
                  <a:pt x="110" y="150"/>
                </a:lnTo>
                <a:lnTo>
                  <a:pt x="56" y="169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219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45A266-CEC3-4E3E-BB87-963F1D298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Arbejdet i laboratoriet har bidraget til min forståelse af teorie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005119E-5202-4525-BDF9-78C395FCEBE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60033" y="1556714"/>
            <a:ext cx="14695114" cy="5180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75081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8B133-0169-4112-B9F0-C503A9810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Jeg føler mig motiveret til det skriftlige arbejde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10D3C6F-0B2B-4191-9EE0-44BD4BB8BA1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40242" y="1588143"/>
            <a:ext cx="14947231" cy="5269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1794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8D2868-47D5-4B1A-B126-4B10983E5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eg føler at dagens praktiske arbejde i laboratoriet, øger min faglige motiva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59416EA-9F2E-44A4-A7A8-679FC2B3957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2326" y="1554208"/>
            <a:ext cx="15043484" cy="5303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37641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FA0CD-8FBB-49E4-A4B4-1FC5847BE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51602"/>
            <a:ext cx="10515600" cy="1325563"/>
          </a:xfrm>
        </p:spPr>
        <p:txBody>
          <a:bodyPr/>
          <a:lstStyle/>
          <a:p>
            <a:r>
              <a:rPr lang="da-DK" dirty="0"/>
              <a:t>Status P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72EB8-9E9A-4AA3-BFFE-0A329151F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936832" cy="4351338"/>
          </a:xfrm>
        </p:spPr>
        <p:txBody>
          <a:bodyPr anchor="ctr"/>
          <a:lstStyle/>
          <a:p>
            <a:pPr marL="0" indent="0">
              <a:buNone/>
            </a:pPr>
            <a:r>
              <a:rPr lang="da-DK" dirty="0"/>
              <a:t>Det ville måske give mening at ændre på problemformuleringen således at den går mere i flæsket på (</a:t>
            </a:r>
            <a:r>
              <a:rPr lang="da-DK" dirty="0">
                <a:solidFill>
                  <a:schemeClr val="accent1"/>
                </a:solidFill>
              </a:rPr>
              <a:t>Hodson, 2008</a:t>
            </a:r>
            <a:r>
              <a:rPr lang="da-DK" dirty="0"/>
              <a:t>) for baseret på de data jeg nu har til rådighed ser ud til at gå imod de slutninger der findes i Hodson’s artikel.</a:t>
            </a:r>
          </a:p>
        </p:txBody>
      </p:sp>
      <p:sp>
        <p:nvSpPr>
          <p:cNvPr id="4" name="Time_Check">
            <a:extLst>
              <a:ext uri="{FF2B5EF4-FFF2-40B4-BE49-F238E27FC236}">
                <a16:creationId xmlns:a16="http://schemas.microsoft.com/office/drawing/2014/main" id="{325205E6-3830-487C-8719-0B356F35ABA7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8775032" y="365124"/>
            <a:ext cx="3096126" cy="6096967"/>
          </a:xfrm>
          <a:custGeom>
            <a:avLst/>
            <a:gdLst>
              <a:gd name="T0" fmla="*/ 197 w 462"/>
              <a:gd name="T1" fmla="*/ 457 h 907"/>
              <a:gd name="T2" fmla="*/ 317 w 462"/>
              <a:gd name="T3" fmla="*/ 412 h 907"/>
              <a:gd name="T4" fmla="*/ 362 w 462"/>
              <a:gd name="T5" fmla="*/ 430 h 907"/>
              <a:gd name="T6" fmla="*/ 378 w 462"/>
              <a:gd name="T7" fmla="*/ 476 h 907"/>
              <a:gd name="T8" fmla="*/ 282 w 462"/>
              <a:gd name="T9" fmla="*/ 548 h 907"/>
              <a:gd name="T10" fmla="*/ 447 w 462"/>
              <a:gd name="T11" fmla="*/ 462 h 907"/>
              <a:gd name="T12" fmla="*/ 439 w 462"/>
              <a:gd name="T13" fmla="*/ 388 h 907"/>
              <a:gd name="T14" fmla="*/ 231 w 462"/>
              <a:gd name="T15" fmla="*/ 363 h 907"/>
              <a:gd name="T16" fmla="*/ 31 w 462"/>
              <a:gd name="T17" fmla="*/ 367 h 907"/>
              <a:gd name="T18" fmla="*/ 15 w 462"/>
              <a:gd name="T19" fmla="*/ 462 h 907"/>
              <a:gd name="T20" fmla="*/ 81 w 462"/>
              <a:gd name="T21" fmla="*/ 500 h 907"/>
              <a:gd name="T22" fmla="*/ 161 w 462"/>
              <a:gd name="T23" fmla="*/ 777 h 907"/>
              <a:gd name="T24" fmla="*/ 244 w 462"/>
              <a:gd name="T25" fmla="*/ 687 h 907"/>
              <a:gd name="T26" fmla="*/ 371 w 462"/>
              <a:gd name="T27" fmla="*/ 808 h 907"/>
              <a:gd name="T28" fmla="*/ 388 w 462"/>
              <a:gd name="T29" fmla="*/ 855 h 907"/>
              <a:gd name="T30" fmla="*/ 245 w 462"/>
              <a:gd name="T31" fmla="*/ 907 h 907"/>
              <a:gd name="T32" fmla="*/ 83 w 462"/>
              <a:gd name="T33" fmla="*/ 871 h 907"/>
              <a:gd name="T34" fmla="*/ 18 w 462"/>
              <a:gd name="T35" fmla="*/ 663 h 907"/>
              <a:gd name="T36" fmla="*/ 15 w 462"/>
              <a:gd name="T37" fmla="*/ 366 h 907"/>
              <a:gd name="T38" fmla="*/ 47 w 462"/>
              <a:gd name="T39" fmla="*/ 180 h 907"/>
              <a:gd name="T40" fmla="*/ 368 w 462"/>
              <a:gd name="T41" fmla="*/ 63 h 907"/>
              <a:gd name="T42" fmla="*/ 447 w 462"/>
              <a:gd name="T43" fmla="*/ 206 h 907"/>
              <a:gd name="T44" fmla="*/ 462 w 462"/>
              <a:gd name="T45" fmla="*/ 567 h 907"/>
              <a:gd name="T46" fmla="*/ 315 w 462"/>
              <a:gd name="T47" fmla="*/ 605 h 907"/>
              <a:gd name="T48" fmla="*/ 158 w 462"/>
              <a:gd name="T49" fmla="*/ 605 h 907"/>
              <a:gd name="T50" fmla="*/ 245 w 462"/>
              <a:gd name="T51" fmla="*/ 852 h 907"/>
              <a:gd name="T52" fmla="*/ 245 w 462"/>
              <a:gd name="T53" fmla="*/ 852 h 907"/>
              <a:gd name="T54" fmla="*/ 374 w 462"/>
              <a:gd name="T55" fmla="*/ 870 h 907"/>
              <a:gd name="T56" fmla="*/ 100 w 462"/>
              <a:gd name="T57" fmla="*/ 852 h 907"/>
              <a:gd name="T58" fmla="*/ 164 w 462"/>
              <a:gd name="T59" fmla="*/ 793 h 907"/>
              <a:gd name="T60" fmla="*/ 228 w 462"/>
              <a:gd name="T61" fmla="*/ 890 h 907"/>
              <a:gd name="T62" fmla="*/ 99 w 462"/>
              <a:gd name="T63" fmla="*/ 890 h 907"/>
              <a:gd name="T64" fmla="*/ 83 w 462"/>
              <a:gd name="T65" fmla="*/ 666 h 907"/>
              <a:gd name="T66" fmla="*/ 47 w 462"/>
              <a:gd name="T67" fmla="*/ 196 h 907"/>
              <a:gd name="T68" fmla="*/ 32 w 462"/>
              <a:gd name="T69" fmla="*/ 336 h 907"/>
              <a:gd name="T70" fmla="*/ 200 w 462"/>
              <a:gd name="T71" fmla="*/ 325 h 907"/>
              <a:gd name="T72" fmla="*/ 294 w 462"/>
              <a:gd name="T73" fmla="*/ 248 h 907"/>
              <a:gd name="T74" fmla="*/ 305 w 462"/>
              <a:gd name="T75" fmla="*/ 180 h 907"/>
              <a:gd name="T76" fmla="*/ 280 w 462"/>
              <a:gd name="T77" fmla="*/ 106 h 907"/>
              <a:gd name="T78" fmla="*/ 173 w 462"/>
              <a:gd name="T79" fmla="*/ 82 h 907"/>
              <a:gd name="T80" fmla="*/ 70 w 462"/>
              <a:gd name="T81" fmla="*/ 137 h 907"/>
              <a:gd name="T82" fmla="*/ 65 w 462"/>
              <a:gd name="T83" fmla="*/ 186 h 907"/>
              <a:gd name="T84" fmla="*/ 97 w 462"/>
              <a:gd name="T85" fmla="*/ 275 h 907"/>
              <a:gd name="T86" fmla="*/ 399 w 462"/>
              <a:gd name="T87" fmla="*/ 191 h 907"/>
              <a:gd name="T88" fmla="*/ 355 w 462"/>
              <a:gd name="T89" fmla="*/ 73 h 907"/>
              <a:gd name="T90" fmla="*/ 88 w 462"/>
              <a:gd name="T91" fmla="*/ 101 h 907"/>
              <a:gd name="T92" fmla="*/ 289 w 462"/>
              <a:gd name="T93" fmla="*/ 100 h 907"/>
              <a:gd name="T94" fmla="*/ 315 w 462"/>
              <a:gd name="T95" fmla="*/ 167 h 907"/>
              <a:gd name="T96" fmla="*/ 317 w 462"/>
              <a:gd name="T97" fmla="*/ 197 h 907"/>
              <a:gd name="T98" fmla="*/ 203 w 462"/>
              <a:gd name="T99" fmla="*/ 335 h 907"/>
              <a:gd name="T100" fmla="*/ 225 w 462"/>
              <a:gd name="T101" fmla="*/ 347 h 907"/>
              <a:gd name="T102" fmla="*/ 399 w 462"/>
              <a:gd name="T103" fmla="*/ 196 h 907"/>
              <a:gd name="T104" fmla="*/ 415 w 462"/>
              <a:gd name="T105" fmla="*/ 196 h 907"/>
              <a:gd name="T106" fmla="*/ 430 w 462"/>
              <a:gd name="T107" fmla="*/ 205 h 907"/>
              <a:gd name="T108" fmla="*/ 165 w 462"/>
              <a:gd name="T109" fmla="*/ 420 h 907"/>
              <a:gd name="T110" fmla="*/ 310 w 462"/>
              <a:gd name="T111" fmla="*/ 567 h 907"/>
              <a:gd name="T112" fmla="*/ 200 w 462"/>
              <a:gd name="T113" fmla="*/ 567 h 907"/>
              <a:gd name="T114" fmla="*/ 197 w 462"/>
              <a:gd name="T115" fmla="*/ 521 h 907"/>
              <a:gd name="T116" fmla="*/ 244 w 462"/>
              <a:gd name="T117" fmla="*/ 491 h 907"/>
              <a:gd name="T118" fmla="*/ 269 w 462"/>
              <a:gd name="T119" fmla="*/ 485 h 907"/>
              <a:gd name="T120" fmla="*/ 270 w 462"/>
              <a:gd name="T121" fmla="*/ 477 h 907"/>
              <a:gd name="T122" fmla="*/ 218 w 462"/>
              <a:gd name="T123" fmla="*/ 548 h 907"/>
              <a:gd name="T124" fmla="*/ 218 w 462"/>
              <a:gd name="T125" fmla="*/ 54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62" h="907">
                <a:moveTo>
                  <a:pt x="277" y="451"/>
                </a:moveTo>
                <a:lnTo>
                  <a:pt x="277" y="457"/>
                </a:lnTo>
                <a:lnTo>
                  <a:pt x="197" y="457"/>
                </a:lnTo>
                <a:lnTo>
                  <a:pt x="197" y="451"/>
                </a:lnTo>
                <a:lnTo>
                  <a:pt x="277" y="451"/>
                </a:lnTo>
                <a:close/>
                <a:moveTo>
                  <a:pt x="317" y="412"/>
                </a:moveTo>
                <a:lnTo>
                  <a:pt x="317" y="467"/>
                </a:lnTo>
                <a:lnTo>
                  <a:pt x="362" y="467"/>
                </a:lnTo>
                <a:lnTo>
                  <a:pt x="362" y="430"/>
                </a:lnTo>
                <a:lnTo>
                  <a:pt x="378" y="430"/>
                </a:lnTo>
                <a:lnTo>
                  <a:pt x="378" y="467"/>
                </a:lnTo>
                <a:lnTo>
                  <a:pt x="378" y="476"/>
                </a:lnTo>
                <a:lnTo>
                  <a:pt x="378" y="483"/>
                </a:lnTo>
                <a:lnTo>
                  <a:pt x="282" y="483"/>
                </a:lnTo>
                <a:lnTo>
                  <a:pt x="282" y="548"/>
                </a:lnTo>
                <a:lnTo>
                  <a:pt x="380" y="548"/>
                </a:lnTo>
                <a:lnTo>
                  <a:pt x="447" y="547"/>
                </a:lnTo>
                <a:lnTo>
                  <a:pt x="447" y="462"/>
                </a:lnTo>
                <a:lnTo>
                  <a:pt x="447" y="451"/>
                </a:lnTo>
                <a:lnTo>
                  <a:pt x="447" y="435"/>
                </a:lnTo>
                <a:cubicBezTo>
                  <a:pt x="447" y="418"/>
                  <a:pt x="444" y="403"/>
                  <a:pt x="439" y="388"/>
                </a:cubicBezTo>
                <a:cubicBezTo>
                  <a:pt x="436" y="381"/>
                  <a:pt x="434" y="373"/>
                  <a:pt x="430" y="367"/>
                </a:cubicBezTo>
                <a:cubicBezTo>
                  <a:pt x="418" y="341"/>
                  <a:pt x="398" y="318"/>
                  <a:pt x="373" y="300"/>
                </a:cubicBezTo>
                <a:cubicBezTo>
                  <a:pt x="339" y="338"/>
                  <a:pt x="288" y="363"/>
                  <a:pt x="231" y="363"/>
                </a:cubicBezTo>
                <a:lnTo>
                  <a:pt x="223" y="363"/>
                </a:lnTo>
                <a:cubicBezTo>
                  <a:pt x="169" y="361"/>
                  <a:pt x="121" y="337"/>
                  <a:pt x="90" y="300"/>
                </a:cubicBezTo>
                <a:cubicBezTo>
                  <a:pt x="65" y="318"/>
                  <a:pt x="45" y="341"/>
                  <a:pt x="31" y="367"/>
                </a:cubicBezTo>
                <a:cubicBezTo>
                  <a:pt x="28" y="375"/>
                  <a:pt x="25" y="381"/>
                  <a:pt x="23" y="388"/>
                </a:cubicBezTo>
                <a:cubicBezTo>
                  <a:pt x="18" y="403"/>
                  <a:pt x="15" y="418"/>
                  <a:pt x="15" y="435"/>
                </a:cubicBezTo>
                <a:lnTo>
                  <a:pt x="15" y="462"/>
                </a:lnTo>
                <a:lnTo>
                  <a:pt x="15" y="646"/>
                </a:lnTo>
                <a:lnTo>
                  <a:pt x="81" y="646"/>
                </a:lnTo>
                <a:lnTo>
                  <a:pt x="81" y="500"/>
                </a:lnTo>
                <a:lnTo>
                  <a:pt x="98" y="500"/>
                </a:lnTo>
                <a:lnTo>
                  <a:pt x="98" y="810"/>
                </a:lnTo>
                <a:cubicBezTo>
                  <a:pt x="113" y="790"/>
                  <a:pt x="135" y="777"/>
                  <a:pt x="161" y="777"/>
                </a:cubicBezTo>
                <a:cubicBezTo>
                  <a:pt x="186" y="777"/>
                  <a:pt x="210" y="790"/>
                  <a:pt x="225" y="808"/>
                </a:cubicBezTo>
                <a:lnTo>
                  <a:pt x="225" y="687"/>
                </a:lnTo>
                <a:lnTo>
                  <a:pt x="244" y="687"/>
                </a:lnTo>
                <a:lnTo>
                  <a:pt x="244" y="808"/>
                </a:lnTo>
                <a:cubicBezTo>
                  <a:pt x="259" y="788"/>
                  <a:pt x="281" y="776"/>
                  <a:pt x="308" y="776"/>
                </a:cubicBezTo>
                <a:cubicBezTo>
                  <a:pt x="334" y="776"/>
                  <a:pt x="356" y="788"/>
                  <a:pt x="371" y="808"/>
                </a:cubicBezTo>
                <a:lnTo>
                  <a:pt x="371" y="553"/>
                </a:lnTo>
                <a:lnTo>
                  <a:pt x="388" y="553"/>
                </a:lnTo>
                <a:lnTo>
                  <a:pt x="388" y="855"/>
                </a:lnTo>
                <a:lnTo>
                  <a:pt x="388" y="857"/>
                </a:lnTo>
                <a:lnTo>
                  <a:pt x="388" y="907"/>
                </a:lnTo>
                <a:lnTo>
                  <a:pt x="245" y="907"/>
                </a:lnTo>
                <a:lnTo>
                  <a:pt x="229" y="907"/>
                </a:lnTo>
                <a:lnTo>
                  <a:pt x="83" y="907"/>
                </a:lnTo>
                <a:lnTo>
                  <a:pt x="83" y="871"/>
                </a:lnTo>
                <a:lnTo>
                  <a:pt x="83" y="871"/>
                </a:lnTo>
                <a:lnTo>
                  <a:pt x="83" y="730"/>
                </a:lnTo>
                <a:cubicBezTo>
                  <a:pt x="48" y="726"/>
                  <a:pt x="22" y="698"/>
                  <a:pt x="18" y="663"/>
                </a:cubicBezTo>
                <a:lnTo>
                  <a:pt x="0" y="663"/>
                </a:lnTo>
                <a:lnTo>
                  <a:pt x="0" y="436"/>
                </a:lnTo>
                <a:cubicBezTo>
                  <a:pt x="0" y="411"/>
                  <a:pt x="5" y="387"/>
                  <a:pt x="15" y="366"/>
                </a:cubicBezTo>
                <a:lnTo>
                  <a:pt x="15" y="205"/>
                </a:lnTo>
                <a:cubicBezTo>
                  <a:pt x="15" y="191"/>
                  <a:pt x="27" y="180"/>
                  <a:pt x="40" y="180"/>
                </a:cubicBezTo>
                <a:lnTo>
                  <a:pt x="47" y="180"/>
                </a:lnTo>
                <a:lnTo>
                  <a:pt x="47" y="177"/>
                </a:lnTo>
                <a:cubicBezTo>
                  <a:pt x="50" y="77"/>
                  <a:pt x="137" y="0"/>
                  <a:pt x="239" y="5"/>
                </a:cubicBezTo>
                <a:cubicBezTo>
                  <a:pt x="289" y="7"/>
                  <a:pt x="334" y="27"/>
                  <a:pt x="368" y="63"/>
                </a:cubicBezTo>
                <a:cubicBezTo>
                  <a:pt x="398" y="96"/>
                  <a:pt x="415" y="137"/>
                  <a:pt x="417" y="181"/>
                </a:cubicBezTo>
                <a:lnTo>
                  <a:pt x="422" y="181"/>
                </a:lnTo>
                <a:cubicBezTo>
                  <a:pt x="435" y="181"/>
                  <a:pt x="447" y="192"/>
                  <a:pt x="447" y="206"/>
                </a:cubicBezTo>
                <a:lnTo>
                  <a:pt x="447" y="356"/>
                </a:lnTo>
                <a:cubicBezTo>
                  <a:pt x="457" y="377"/>
                  <a:pt x="462" y="401"/>
                  <a:pt x="462" y="426"/>
                </a:cubicBezTo>
                <a:lnTo>
                  <a:pt x="462" y="567"/>
                </a:lnTo>
                <a:lnTo>
                  <a:pt x="379" y="567"/>
                </a:lnTo>
                <a:lnTo>
                  <a:pt x="315" y="567"/>
                </a:lnTo>
                <a:lnTo>
                  <a:pt x="315" y="605"/>
                </a:lnTo>
                <a:lnTo>
                  <a:pt x="315" y="605"/>
                </a:lnTo>
                <a:lnTo>
                  <a:pt x="309" y="605"/>
                </a:lnTo>
                <a:lnTo>
                  <a:pt x="158" y="605"/>
                </a:lnTo>
                <a:lnTo>
                  <a:pt x="158" y="412"/>
                </a:lnTo>
                <a:lnTo>
                  <a:pt x="317" y="412"/>
                </a:lnTo>
                <a:close/>
                <a:moveTo>
                  <a:pt x="245" y="852"/>
                </a:moveTo>
                <a:lnTo>
                  <a:pt x="373" y="852"/>
                </a:lnTo>
                <a:cubicBezTo>
                  <a:pt x="369" y="820"/>
                  <a:pt x="342" y="793"/>
                  <a:pt x="309" y="793"/>
                </a:cubicBezTo>
                <a:cubicBezTo>
                  <a:pt x="277" y="793"/>
                  <a:pt x="249" y="818"/>
                  <a:pt x="245" y="852"/>
                </a:cubicBezTo>
                <a:close/>
                <a:moveTo>
                  <a:pt x="245" y="890"/>
                </a:moveTo>
                <a:lnTo>
                  <a:pt x="374" y="890"/>
                </a:lnTo>
                <a:lnTo>
                  <a:pt x="374" y="870"/>
                </a:lnTo>
                <a:lnTo>
                  <a:pt x="245" y="870"/>
                </a:lnTo>
                <a:lnTo>
                  <a:pt x="245" y="890"/>
                </a:lnTo>
                <a:close/>
                <a:moveTo>
                  <a:pt x="100" y="852"/>
                </a:moveTo>
                <a:lnTo>
                  <a:pt x="228" y="852"/>
                </a:lnTo>
                <a:lnTo>
                  <a:pt x="228" y="849"/>
                </a:lnTo>
                <a:cubicBezTo>
                  <a:pt x="223" y="818"/>
                  <a:pt x="197" y="793"/>
                  <a:pt x="164" y="793"/>
                </a:cubicBezTo>
                <a:cubicBezTo>
                  <a:pt x="132" y="793"/>
                  <a:pt x="104" y="818"/>
                  <a:pt x="100" y="852"/>
                </a:cubicBezTo>
                <a:close/>
                <a:moveTo>
                  <a:pt x="99" y="890"/>
                </a:moveTo>
                <a:lnTo>
                  <a:pt x="228" y="890"/>
                </a:lnTo>
                <a:lnTo>
                  <a:pt x="228" y="870"/>
                </a:lnTo>
                <a:lnTo>
                  <a:pt x="99" y="870"/>
                </a:lnTo>
                <a:lnTo>
                  <a:pt x="99" y="890"/>
                </a:lnTo>
                <a:close/>
                <a:moveTo>
                  <a:pt x="34" y="666"/>
                </a:moveTo>
                <a:cubicBezTo>
                  <a:pt x="39" y="691"/>
                  <a:pt x="58" y="710"/>
                  <a:pt x="83" y="713"/>
                </a:cubicBezTo>
                <a:lnTo>
                  <a:pt x="83" y="666"/>
                </a:lnTo>
                <a:lnTo>
                  <a:pt x="34" y="666"/>
                </a:lnTo>
                <a:close/>
                <a:moveTo>
                  <a:pt x="80" y="287"/>
                </a:moveTo>
                <a:cubicBezTo>
                  <a:pt x="62" y="261"/>
                  <a:pt x="49" y="230"/>
                  <a:pt x="47" y="196"/>
                </a:cubicBezTo>
                <a:lnTo>
                  <a:pt x="40" y="196"/>
                </a:lnTo>
                <a:cubicBezTo>
                  <a:pt x="35" y="196"/>
                  <a:pt x="32" y="200"/>
                  <a:pt x="32" y="205"/>
                </a:cubicBezTo>
                <a:lnTo>
                  <a:pt x="32" y="336"/>
                </a:lnTo>
                <a:cubicBezTo>
                  <a:pt x="45" y="317"/>
                  <a:pt x="62" y="301"/>
                  <a:pt x="80" y="287"/>
                </a:cubicBezTo>
                <a:close/>
                <a:moveTo>
                  <a:pt x="109" y="288"/>
                </a:moveTo>
                <a:cubicBezTo>
                  <a:pt x="134" y="313"/>
                  <a:pt x="167" y="328"/>
                  <a:pt x="200" y="325"/>
                </a:cubicBezTo>
                <a:lnTo>
                  <a:pt x="200" y="325"/>
                </a:lnTo>
                <a:cubicBezTo>
                  <a:pt x="238" y="321"/>
                  <a:pt x="268" y="297"/>
                  <a:pt x="287" y="263"/>
                </a:cubicBezTo>
                <a:lnTo>
                  <a:pt x="294" y="248"/>
                </a:lnTo>
                <a:cubicBezTo>
                  <a:pt x="300" y="232"/>
                  <a:pt x="304" y="216"/>
                  <a:pt x="305" y="197"/>
                </a:cubicBezTo>
                <a:lnTo>
                  <a:pt x="305" y="188"/>
                </a:lnTo>
                <a:lnTo>
                  <a:pt x="305" y="180"/>
                </a:lnTo>
                <a:cubicBezTo>
                  <a:pt x="305" y="176"/>
                  <a:pt x="305" y="172"/>
                  <a:pt x="304" y="168"/>
                </a:cubicBezTo>
                <a:cubicBezTo>
                  <a:pt x="300" y="133"/>
                  <a:pt x="289" y="116"/>
                  <a:pt x="283" y="108"/>
                </a:cubicBezTo>
                <a:lnTo>
                  <a:pt x="280" y="106"/>
                </a:lnTo>
                <a:lnTo>
                  <a:pt x="282" y="105"/>
                </a:lnTo>
                <a:cubicBezTo>
                  <a:pt x="274" y="97"/>
                  <a:pt x="243" y="75"/>
                  <a:pt x="175" y="82"/>
                </a:cubicBezTo>
                <a:lnTo>
                  <a:pt x="173" y="82"/>
                </a:lnTo>
                <a:cubicBezTo>
                  <a:pt x="159" y="83"/>
                  <a:pt x="89" y="93"/>
                  <a:pt x="74" y="130"/>
                </a:cubicBezTo>
                <a:lnTo>
                  <a:pt x="74" y="130"/>
                </a:lnTo>
                <a:lnTo>
                  <a:pt x="70" y="137"/>
                </a:lnTo>
                <a:cubicBezTo>
                  <a:pt x="69" y="143"/>
                  <a:pt x="67" y="150"/>
                  <a:pt x="67" y="157"/>
                </a:cubicBezTo>
                <a:cubicBezTo>
                  <a:pt x="65" y="163"/>
                  <a:pt x="65" y="170"/>
                  <a:pt x="65" y="177"/>
                </a:cubicBezTo>
                <a:lnTo>
                  <a:pt x="65" y="186"/>
                </a:lnTo>
                <a:lnTo>
                  <a:pt x="65" y="192"/>
                </a:lnTo>
                <a:lnTo>
                  <a:pt x="65" y="195"/>
                </a:lnTo>
                <a:cubicBezTo>
                  <a:pt x="69" y="225"/>
                  <a:pt x="80" y="252"/>
                  <a:pt x="97" y="275"/>
                </a:cubicBezTo>
                <a:cubicBezTo>
                  <a:pt x="102" y="280"/>
                  <a:pt x="105" y="285"/>
                  <a:pt x="109" y="288"/>
                </a:cubicBezTo>
                <a:close/>
                <a:moveTo>
                  <a:pt x="399" y="196"/>
                </a:moveTo>
                <a:lnTo>
                  <a:pt x="399" y="191"/>
                </a:lnTo>
                <a:lnTo>
                  <a:pt x="399" y="187"/>
                </a:lnTo>
                <a:lnTo>
                  <a:pt x="399" y="178"/>
                </a:lnTo>
                <a:cubicBezTo>
                  <a:pt x="398" y="140"/>
                  <a:pt x="383" y="102"/>
                  <a:pt x="355" y="73"/>
                </a:cubicBezTo>
                <a:cubicBezTo>
                  <a:pt x="325" y="41"/>
                  <a:pt x="284" y="22"/>
                  <a:pt x="239" y="21"/>
                </a:cubicBezTo>
                <a:lnTo>
                  <a:pt x="231" y="21"/>
                </a:lnTo>
                <a:cubicBezTo>
                  <a:pt x="170" y="21"/>
                  <a:pt x="116" y="52"/>
                  <a:pt x="88" y="101"/>
                </a:cubicBezTo>
                <a:cubicBezTo>
                  <a:pt x="115" y="82"/>
                  <a:pt x="156" y="76"/>
                  <a:pt x="171" y="75"/>
                </a:cubicBezTo>
                <a:lnTo>
                  <a:pt x="174" y="75"/>
                </a:lnTo>
                <a:cubicBezTo>
                  <a:pt x="244" y="67"/>
                  <a:pt x="278" y="90"/>
                  <a:pt x="289" y="100"/>
                </a:cubicBezTo>
                <a:lnTo>
                  <a:pt x="290" y="100"/>
                </a:lnTo>
                <a:lnTo>
                  <a:pt x="293" y="102"/>
                </a:lnTo>
                <a:cubicBezTo>
                  <a:pt x="302" y="112"/>
                  <a:pt x="312" y="131"/>
                  <a:pt x="315" y="167"/>
                </a:cubicBezTo>
                <a:cubicBezTo>
                  <a:pt x="315" y="171"/>
                  <a:pt x="317" y="176"/>
                  <a:pt x="317" y="180"/>
                </a:cubicBezTo>
                <a:lnTo>
                  <a:pt x="317" y="188"/>
                </a:lnTo>
                <a:lnTo>
                  <a:pt x="317" y="197"/>
                </a:lnTo>
                <a:cubicBezTo>
                  <a:pt x="315" y="216"/>
                  <a:pt x="312" y="235"/>
                  <a:pt x="305" y="251"/>
                </a:cubicBezTo>
                <a:lnTo>
                  <a:pt x="298" y="266"/>
                </a:lnTo>
                <a:cubicBezTo>
                  <a:pt x="278" y="305"/>
                  <a:pt x="244" y="331"/>
                  <a:pt x="203" y="335"/>
                </a:cubicBezTo>
                <a:lnTo>
                  <a:pt x="203" y="335"/>
                </a:lnTo>
                <a:cubicBezTo>
                  <a:pt x="188" y="336"/>
                  <a:pt x="173" y="335"/>
                  <a:pt x="158" y="330"/>
                </a:cubicBezTo>
                <a:cubicBezTo>
                  <a:pt x="178" y="339"/>
                  <a:pt x="201" y="346"/>
                  <a:pt x="225" y="347"/>
                </a:cubicBezTo>
                <a:cubicBezTo>
                  <a:pt x="279" y="350"/>
                  <a:pt x="326" y="327"/>
                  <a:pt x="359" y="291"/>
                </a:cubicBezTo>
                <a:cubicBezTo>
                  <a:pt x="363" y="287"/>
                  <a:pt x="366" y="282"/>
                  <a:pt x="369" y="277"/>
                </a:cubicBezTo>
                <a:cubicBezTo>
                  <a:pt x="387" y="255"/>
                  <a:pt x="397" y="226"/>
                  <a:pt x="399" y="196"/>
                </a:cubicBezTo>
                <a:close/>
                <a:moveTo>
                  <a:pt x="430" y="205"/>
                </a:moveTo>
                <a:cubicBezTo>
                  <a:pt x="430" y="200"/>
                  <a:pt x="427" y="196"/>
                  <a:pt x="422" y="196"/>
                </a:cubicBezTo>
                <a:lnTo>
                  <a:pt x="415" y="196"/>
                </a:lnTo>
                <a:cubicBezTo>
                  <a:pt x="413" y="230"/>
                  <a:pt x="401" y="261"/>
                  <a:pt x="383" y="287"/>
                </a:cubicBezTo>
                <a:cubicBezTo>
                  <a:pt x="401" y="301"/>
                  <a:pt x="418" y="317"/>
                  <a:pt x="430" y="335"/>
                </a:cubicBezTo>
                <a:lnTo>
                  <a:pt x="430" y="205"/>
                </a:lnTo>
                <a:close/>
                <a:moveTo>
                  <a:pt x="310" y="467"/>
                </a:moveTo>
                <a:lnTo>
                  <a:pt x="310" y="420"/>
                </a:lnTo>
                <a:lnTo>
                  <a:pt x="165" y="420"/>
                </a:lnTo>
                <a:lnTo>
                  <a:pt x="165" y="600"/>
                </a:lnTo>
                <a:lnTo>
                  <a:pt x="310" y="600"/>
                </a:lnTo>
                <a:lnTo>
                  <a:pt x="310" y="567"/>
                </a:lnTo>
                <a:lnTo>
                  <a:pt x="284" y="567"/>
                </a:lnTo>
                <a:lnTo>
                  <a:pt x="282" y="567"/>
                </a:lnTo>
                <a:lnTo>
                  <a:pt x="200" y="567"/>
                </a:lnTo>
                <a:lnTo>
                  <a:pt x="200" y="558"/>
                </a:lnTo>
                <a:cubicBezTo>
                  <a:pt x="200" y="545"/>
                  <a:pt x="204" y="532"/>
                  <a:pt x="210" y="521"/>
                </a:cubicBezTo>
                <a:lnTo>
                  <a:pt x="197" y="521"/>
                </a:lnTo>
                <a:lnTo>
                  <a:pt x="197" y="515"/>
                </a:lnTo>
                <a:lnTo>
                  <a:pt x="214" y="515"/>
                </a:lnTo>
                <a:cubicBezTo>
                  <a:pt x="222" y="505"/>
                  <a:pt x="231" y="496"/>
                  <a:pt x="244" y="491"/>
                </a:cubicBezTo>
                <a:lnTo>
                  <a:pt x="197" y="491"/>
                </a:lnTo>
                <a:lnTo>
                  <a:pt x="197" y="485"/>
                </a:lnTo>
                <a:lnTo>
                  <a:pt x="269" y="485"/>
                </a:lnTo>
                <a:lnTo>
                  <a:pt x="269" y="485"/>
                </a:lnTo>
                <a:lnTo>
                  <a:pt x="270" y="485"/>
                </a:lnTo>
                <a:lnTo>
                  <a:pt x="270" y="477"/>
                </a:lnTo>
                <a:lnTo>
                  <a:pt x="270" y="467"/>
                </a:lnTo>
                <a:lnTo>
                  <a:pt x="310" y="467"/>
                </a:lnTo>
                <a:close/>
                <a:moveTo>
                  <a:pt x="218" y="548"/>
                </a:moveTo>
                <a:lnTo>
                  <a:pt x="265" y="548"/>
                </a:lnTo>
                <a:lnTo>
                  <a:pt x="265" y="500"/>
                </a:lnTo>
                <a:cubicBezTo>
                  <a:pt x="240" y="505"/>
                  <a:pt x="222" y="525"/>
                  <a:pt x="218" y="54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4536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5F2ED-5AAE-4D8B-8DD8-298CFD82F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itteraturliste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721072-E86F-4854-8488-76505766E9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dirty="0"/>
              <a:t>Burke, K., Hand, B., Poock, J. og Greenbowe, T. (2005)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dirty="0"/>
              <a:t>	Using the science writing heuristic: Training 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dirty="0"/>
              <a:t>	Chemistry teaching assistants, </a:t>
            </a:r>
            <a:r>
              <a:rPr lang="da-DK" i="1" dirty="0"/>
              <a:t>Journal of College Science Teaching, 	35</a:t>
            </a:r>
            <a:r>
              <a:rPr lang="da-DK" dirty="0"/>
              <a:t>(1), 36 - 41</a:t>
            </a:r>
          </a:p>
          <a:p>
            <a:pPr marL="0" indent="0">
              <a:spcBef>
                <a:spcPts val="0"/>
              </a:spcBef>
              <a:buNone/>
            </a:pPr>
            <a:endParaRPr lang="da-DK" dirty="0"/>
          </a:p>
          <a:p>
            <a:pPr marL="0" indent="0">
              <a:spcBef>
                <a:spcPts val="0"/>
              </a:spcBef>
              <a:buNone/>
            </a:pPr>
            <a:r>
              <a:rPr lang="da-DK" dirty="0"/>
              <a:t>Hodson, D. (2008). Et kritisk blik på praktisk arbejd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da-DK" dirty="0"/>
              <a:t>	i naturfagene. MONA(3), 7 – 20.</a:t>
            </a:r>
          </a:p>
          <a:p>
            <a:pPr marL="0" indent="0">
              <a:spcBef>
                <a:spcPts val="0"/>
              </a:spcBef>
              <a:buNone/>
            </a:pPr>
            <a:endParaRPr lang="da-DK" dirty="0"/>
          </a:p>
          <a:p>
            <a:pPr marL="0" indent="0">
              <a:spcBef>
                <a:spcPts val="0"/>
              </a:spcBef>
              <a:buNone/>
            </a:pPr>
            <a:r>
              <a:rPr lang="da-DK" dirty="0"/>
              <a:t>Keys, C.W., Hand, B., Prain, V., og Collins, S. (1999) Using the science 	writing 	heuristic as a tool for learning from laboratory 	investigations in 	secondary science, </a:t>
            </a:r>
            <a:r>
              <a:rPr lang="da-DK" i="1" dirty="0"/>
              <a:t>Journal of Research in Science Teaching, 36</a:t>
            </a:r>
            <a:r>
              <a:rPr lang="da-DK" dirty="0"/>
              <a:t>(10), 	1065 – 1084.</a:t>
            </a:r>
          </a:p>
          <a:p>
            <a:pPr marL="0" indent="0">
              <a:spcBef>
                <a:spcPts val="0"/>
              </a:spcBef>
              <a:buNone/>
            </a:pPr>
            <a:endParaRPr lang="da-DK" dirty="0"/>
          </a:p>
          <a:p>
            <a:pPr marL="0" indent="0">
              <a:spcBef>
                <a:spcPts val="0"/>
              </a:spcBef>
              <a:buNone/>
            </a:pPr>
            <a:r>
              <a:rPr lang="da-DK" dirty="0"/>
              <a:t>Krogh, L.B. og Andersen, H.M. (2016) </a:t>
            </a:r>
            <a:r>
              <a:rPr lang="da-DK" i="1" dirty="0"/>
              <a:t>Fagdidaktik i naturfag, 2, </a:t>
            </a:r>
            <a:r>
              <a:rPr lang="da-DK" dirty="0"/>
              <a:t>24 - 48</a:t>
            </a:r>
          </a:p>
        </p:txBody>
      </p:sp>
      <p:grpSp>
        <p:nvGrpSpPr>
          <p:cNvPr id="4" name="Book_shelf2">
            <a:extLst>
              <a:ext uri="{FF2B5EF4-FFF2-40B4-BE49-F238E27FC236}">
                <a16:creationId xmlns:a16="http://schemas.microsoft.com/office/drawing/2014/main" id="{0BE0C199-ACA0-467C-B0C5-E8C3BF9807E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904372" y="142639"/>
            <a:ext cx="3148595" cy="2203074"/>
            <a:chOff x="8958263" y="5259388"/>
            <a:chExt cx="1585913" cy="1109663"/>
          </a:xfrm>
          <a:solidFill>
            <a:schemeClr val="accent6"/>
          </a:solidFill>
        </p:grpSpPr>
        <p:sp>
          <p:nvSpPr>
            <p:cNvPr id="5" name="Freeform 143">
              <a:extLst>
                <a:ext uri="{FF2B5EF4-FFF2-40B4-BE49-F238E27FC236}">
                  <a16:creationId xmlns:a16="http://schemas.microsoft.com/office/drawing/2014/main" id="{58E15DC4-5F5A-4899-82F9-BCC8FF740E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8263" y="5259388"/>
              <a:ext cx="366713" cy="1103313"/>
            </a:xfrm>
            <a:custGeom>
              <a:avLst/>
              <a:gdLst>
                <a:gd name="T0" fmla="*/ 44 w 50"/>
                <a:gd name="T1" fmla="*/ 0 h 150"/>
                <a:gd name="T2" fmla="*/ 6 w 50"/>
                <a:gd name="T3" fmla="*/ 0 h 150"/>
                <a:gd name="T4" fmla="*/ 0 w 50"/>
                <a:gd name="T5" fmla="*/ 6 h 150"/>
                <a:gd name="T6" fmla="*/ 0 w 50"/>
                <a:gd name="T7" fmla="*/ 144 h 150"/>
                <a:gd name="T8" fmla="*/ 6 w 50"/>
                <a:gd name="T9" fmla="*/ 150 h 150"/>
                <a:gd name="T10" fmla="*/ 44 w 50"/>
                <a:gd name="T11" fmla="*/ 150 h 150"/>
                <a:gd name="T12" fmla="*/ 50 w 50"/>
                <a:gd name="T13" fmla="*/ 144 h 150"/>
                <a:gd name="T14" fmla="*/ 50 w 50"/>
                <a:gd name="T15" fmla="*/ 6 h 150"/>
                <a:gd name="T16" fmla="*/ 44 w 50"/>
                <a:gd name="T17" fmla="*/ 0 h 150"/>
                <a:gd name="T18" fmla="*/ 38 w 50"/>
                <a:gd name="T19" fmla="*/ 38 h 150"/>
                <a:gd name="T20" fmla="*/ 13 w 50"/>
                <a:gd name="T21" fmla="*/ 38 h 150"/>
                <a:gd name="T22" fmla="*/ 13 w 50"/>
                <a:gd name="T23" fmla="*/ 25 h 150"/>
                <a:gd name="T24" fmla="*/ 38 w 50"/>
                <a:gd name="T25" fmla="*/ 25 h 150"/>
                <a:gd name="T26" fmla="*/ 38 w 50"/>
                <a:gd name="T27" fmla="*/ 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150">
                  <a:moveTo>
                    <a:pt x="44" y="0"/>
                  </a:moveTo>
                  <a:lnTo>
                    <a:pt x="6" y="0"/>
                  </a:lnTo>
                  <a:cubicBezTo>
                    <a:pt x="3" y="0"/>
                    <a:pt x="0" y="3"/>
                    <a:pt x="0" y="6"/>
                  </a:cubicBezTo>
                  <a:lnTo>
                    <a:pt x="0" y="144"/>
                  </a:lnTo>
                  <a:cubicBezTo>
                    <a:pt x="0" y="147"/>
                    <a:pt x="3" y="150"/>
                    <a:pt x="6" y="150"/>
                  </a:cubicBezTo>
                  <a:lnTo>
                    <a:pt x="44" y="150"/>
                  </a:lnTo>
                  <a:cubicBezTo>
                    <a:pt x="47" y="150"/>
                    <a:pt x="50" y="147"/>
                    <a:pt x="50" y="144"/>
                  </a:cubicBezTo>
                  <a:lnTo>
                    <a:pt x="50" y="6"/>
                  </a:lnTo>
                  <a:cubicBezTo>
                    <a:pt x="50" y="3"/>
                    <a:pt x="47" y="0"/>
                    <a:pt x="44" y="0"/>
                  </a:cubicBezTo>
                  <a:close/>
                  <a:moveTo>
                    <a:pt x="38" y="38"/>
                  </a:moveTo>
                  <a:lnTo>
                    <a:pt x="13" y="38"/>
                  </a:lnTo>
                  <a:lnTo>
                    <a:pt x="13" y="25"/>
                  </a:lnTo>
                  <a:lnTo>
                    <a:pt x="38" y="25"/>
                  </a:lnTo>
                  <a:lnTo>
                    <a:pt x="38" y="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Freeform 144">
              <a:extLst>
                <a:ext uri="{FF2B5EF4-FFF2-40B4-BE49-F238E27FC236}">
                  <a16:creationId xmlns:a16="http://schemas.microsoft.com/office/drawing/2014/main" id="{DD2263FC-5B84-43B1-B4EB-AAF1748126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0226" y="5259388"/>
              <a:ext cx="366713" cy="1103313"/>
            </a:xfrm>
            <a:custGeom>
              <a:avLst/>
              <a:gdLst>
                <a:gd name="T0" fmla="*/ 43 w 50"/>
                <a:gd name="T1" fmla="*/ 0 h 150"/>
                <a:gd name="T2" fmla="*/ 6 w 50"/>
                <a:gd name="T3" fmla="*/ 0 h 150"/>
                <a:gd name="T4" fmla="*/ 0 w 50"/>
                <a:gd name="T5" fmla="*/ 6 h 150"/>
                <a:gd name="T6" fmla="*/ 0 w 50"/>
                <a:gd name="T7" fmla="*/ 144 h 150"/>
                <a:gd name="T8" fmla="*/ 6 w 50"/>
                <a:gd name="T9" fmla="*/ 150 h 150"/>
                <a:gd name="T10" fmla="*/ 43 w 50"/>
                <a:gd name="T11" fmla="*/ 150 h 150"/>
                <a:gd name="T12" fmla="*/ 50 w 50"/>
                <a:gd name="T13" fmla="*/ 144 h 150"/>
                <a:gd name="T14" fmla="*/ 50 w 50"/>
                <a:gd name="T15" fmla="*/ 6 h 150"/>
                <a:gd name="T16" fmla="*/ 43 w 50"/>
                <a:gd name="T17" fmla="*/ 0 h 150"/>
                <a:gd name="T18" fmla="*/ 37 w 50"/>
                <a:gd name="T19" fmla="*/ 38 h 150"/>
                <a:gd name="T20" fmla="*/ 12 w 50"/>
                <a:gd name="T21" fmla="*/ 38 h 150"/>
                <a:gd name="T22" fmla="*/ 12 w 50"/>
                <a:gd name="T23" fmla="*/ 25 h 150"/>
                <a:gd name="T24" fmla="*/ 37 w 50"/>
                <a:gd name="T25" fmla="*/ 25 h 150"/>
                <a:gd name="T26" fmla="*/ 37 w 50"/>
                <a:gd name="T27" fmla="*/ 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150">
                  <a:moveTo>
                    <a:pt x="43" y="0"/>
                  </a:moveTo>
                  <a:lnTo>
                    <a:pt x="6" y="0"/>
                  </a:lnTo>
                  <a:cubicBezTo>
                    <a:pt x="2" y="0"/>
                    <a:pt x="0" y="3"/>
                    <a:pt x="0" y="6"/>
                  </a:cubicBezTo>
                  <a:lnTo>
                    <a:pt x="0" y="144"/>
                  </a:lnTo>
                  <a:cubicBezTo>
                    <a:pt x="0" y="147"/>
                    <a:pt x="2" y="150"/>
                    <a:pt x="6" y="150"/>
                  </a:cubicBezTo>
                  <a:lnTo>
                    <a:pt x="43" y="150"/>
                  </a:lnTo>
                  <a:cubicBezTo>
                    <a:pt x="47" y="150"/>
                    <a:pt x="50" y="147"/>
                    <a:pt x="50" y="144"/>
                  </a:cubicBezTo>
                  <a:lnTo>
                    <a:pt x="50" y="6"/>
                  </a:lnTo>
                  <a:cubicBezTo>
                    <a:pt x="50" y="3"/>
                    <a:pt x="47" y="0"/>
                    <a:pt x="43" y="0"/>
                  </a:cubicBezTo>
                  <a:close/>
                  <a:moveTo>
                    <a:pt x="37" y="38"/>
                  </a:moveTo>
                  <a:lnTo>
                    <a:pt x="12" y="38"/>
                  </a:lnTo>
                  <a:lnTo>
                    <a:pt x="12" y="25"/>
                  </a:lnTo>
                  <a:lnTo>
                    <a:pt x="37" y="25"/>
                  </a:lnTo>
                  <a:lnTo>
                    <a:pt x="37" y="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145">
              <a:extLst>
                <a:ext uri="{FF2B5EF4-FFF2-40B4-BE49-F238E27FC236}">
                  <a16:creationId xmlns:a16="http://schemas.microsoft.com/office/drawing/2014/main" id="{D9B90760-56E8-4663-BB3B-04A6158FE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0588" y="5318126"/>
              <a:ext cx="763588" cy="1050925"/>
            </a:xfrm>
            <a:custGeom>
              <a:avLst/>
              <a:gdLst>
                <a:gd name="T0" fmla="*/ 37 w 104"/>
                <a:gd name="T1" fmla="*/ 2 h 143"/>
                <a:gd name="T2" fmla="*/ 4 w 104"/>
                <a:gd name="T3" fmla="*/ 19 h 143"/>
                <a:gd name="T4" fmla="*/ 1 w 104"/>
                <a:gd name="T5" fmla="*/ 27 h 143"/>
                <a:gd name="T6" fmla="*/ 57 w 104"/>
                <a:gd name="T7" fmla="*/ 139 h 143"/>
                <a:gd name="T8" fmla="*/ 66 w 104"/>
                <a:gd name="T9" fmla="*/ 141 h 143"/>
                <a:gd name="T10" fmla="*/ 99 w 104"/>
                <a:gd name="T11" fmla="*/ 124 h 143"/>
                <a:gd name="T12" fmla="*/ 102 w 104"/>
                <a:gd name="T13" fmla="*/ 116 h 143"/>
                <a:gd name="T14" fmla="*/ 46 w 104"/>
                <a:gd name="T15" fmla="*/ 4 h 143"/>
                <a:gd name="T16" fmla="*/ 37 w 104"/>
                <a:gd name="T17" fmla="*/ 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43">
                  <a:moveTo>
                    <a:pt x="37" y="2"/>
                  </a:moveTo>
                  <a:lnTo>
                    <a:pt x="4" y="19"/>
                  </a:lnTo>
                  <a:cubicBezTo>
                    <a:pt x="1" y="20"/>
                    <a:pt x="0" y="24"/>
                    <a:pt x="1" y="27"/>
                  </a:cubicBezTo>
                  <a:lnTo>
                    <a:pt x="57" y="139"/>
                  </a:lnTo>
                  <a:cubicBezTo>
                    <a:pt x="59" y="142"/>
                    <a:pt x="63" y="143"/>
                    <a:pt x="66" y="141"/>
                  </a:cubicBezTo>
                  <a:lnTo>
                    <a:pt x="99" y="124"/>
                  </a:lnTo>
                  <a:cubicBezTo>
                    <a:pt x="102" y="123"/>
                    <a:pt x="104" y="119"/>
                    <a:pt x="102" y="116"/>
                  </a:cubicBezTo>
                  <a:lnTo>
                    <a:pt x="46" y="4"/>
                  </a:lnTo>
                  <a:cubicBezTo>
                    <a:pt x="44" y="1"/>
                    <a:pt x="40" y="0"/>
                    <a:pt x="37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Oval 146">
              <a:extLst>
                <a:ext uri="{FF2B5EF4-FFF2-40B4-BE49-F238E27FC236}">
                  <a16:creationId xmlns:a16="http://schemas.microsoft.com/office/drawing/2014/main" id="{5BFC6A3C-DB3C-4C6E-B272-9AD2B78EE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98101" y="6273801"/>
              <a:ext cx="88900" cy="8890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85492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5F6DF-6902-4E1F-B598-0614853F4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oti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374537-46E0-4C40-ABEF-A66B9AB117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Gennem de senere år har jeg arbejdet meget</a:t>
            </a:r>
          </a:p>
          <a:p>
            <a:pPr marL="0" indent="0">
              <a:buNone/>
            </a:pPr>
            <a:r>
              <a:rPr lang="da-DK" dirty="0"/>
              <a:t>Med motivation og mindset i Gymnasiet. </a:t>
            </a:r>
          </a:p>
          <a:p>
            <a:pPr marL="0" indent="0">
              <a:buNone/>
            </a:pPr>
            <a:r>
              <a:rPr lang="da-DK" dirty="0"/>
              <a:t>Gennem dette arbejde har jeg set at det typisk</a:t>
            </a:r>
          </a:p>
          <a:p>
            <a:pPr marL="0" indent="0">
              <a:buNone/>
            </a:pPr>
            <a:r>
              <a:rPr lang="da-DK" dirty="0"/>
              <a:t>Er det skriftlige arbejde som demotivere eleverne</a:t>
            </a:r>
          </a:p>
          <a:p>
            <a:pPr marL="0" indent="0">
              <a:buNone/>
            </a:pPr>
            <a:r>
              <a:rPr lang="da-DK" dirty="0"/>
              <a:t>Ifølge (    </a:t>
            </a:r>
            <a:r>
              <a:rPr lang="da-DK" dirty="0">
                <a:solidFill>
                  <a:schemeClr val="accent1"/>
                </a:solidFill>
              </a:rPr>
              <a:t>Hodson, 2008</a:t>
            </a:r>
            <a:r>
              <a:rPr lang="da-DK" dirty="0"/>
              <a:t>) skyldes det at eleverne ikke</a:t>
            </a:r>
          </a:p>
          <a:p>
            <a:pPr marL="0" indent="0">
              <a:buNone/>
            </a:pPr>
            <a:r>
              <a:rPr lang="da-DK" dirty="0"/>
              <a:t>Nødvendigvis får det ud af praktisk arbejde som </a:t>
            </a:r>
          </a:p>
          <a:p>
            <a:pPr marL="0" indent="0">
              <a:buNone/>
            </a:pPr>
            <a:r>
              <a:rPr lang="da-DK" dirty="0"/>
              <a:t>Vi undervisere forventer. </a:t>
            </a:r>
          </a:p>
          <a:p>
            <a:pPr marL="0" indent="0">
              <a:buNone/>
            </a:pPr>
            <a:r>
              <a:rPr lang="da-DK" b="1" i="1" dirty="0"/>
              <a:t>Kan man gøre noget for at modvirke denne tendens?</a:t>
            </a:r>
          </a:p>
          <a:p>
            <a:pPr marL="0" indent="0">
              <a:buNone/>
            </a:pPr>
            <a:endParaRPr lang="da-DK" dirty="0"/>
          </a:p>
        </p:txBody>
      </p:sp>
      <p:grpSp>
        <p:nvGrpSpPr>
          <p:cNvPr id="4" name="Idea">
            <a:extLst>
              <a:ext uri="{FF2B5EF4-FFF2-40B4-BE49-F238E27FC236}">
                <a16:creationId xmlns:a16="http://schemas.microsoft.com/office/drawing/2014/main" id="{4B3312F0-44E1-40EF-9109-361E0266A3C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857948" y="365125"/>
            <a:ext cx="4147785" cy="4814761"/>
            <a:chOff x="13" y="11"/>
            <a:chExt cx="398" cy="462"/>
          </a:xfrm>
          <a:solidFill>
            <a:schemeClr val="accent2"/>
          </a:solidFill>
        </p:grpSpPr>
        <p:sp>
          <p:nvSpPr>
            <p:cNvPr id="5" name="Idea">
              <a:extLst>
                <a:ext uri="{FF2B5EF4-FFF2-40B4-BE49-F238E27FC236}">
                  <a16:creationId xmlns:a16="http://schemas.microsoft.com/office/drawing/2014/main" id="{4EDCF223-C5ED-47BC-A776-7B063530EC8B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79" y="274"/>
              <a:ext cx="22" cy="8"/>
            </a:xfrm>
            <a:custGeom>
              <a:avLst/>
              <a:gdLst>
                <a:gd name="T0" fmla="*/ 30 w 59"/>
                <a:gd name="T1" fmla="*/ 20 h 20"/>
                <a:gd name="T2" fmla="*/ 59 w 59"/>
                <a:gd name="T3" fmla="*/ 0 h 20"/>
                <a:gd name="T4" fmla="*/ 0 w 59"/>
                <a:gd name="T5" fmla="*/ 0 h 20"/>
                <a:gd name="T6" fmla="*/ 30 w 59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20">
                  <a:moveTo>
                    <a:pt x="30" y="20"/>
                  </a:moveTo>
                  <a:cubicBezTo>
                    <a:pt x="44" y="20"/>
                    <a:pt x="59" y="12"/>
                    <a:pt x="59" y="0"/>
                  </a:cubicBezTo>
                  <a:lnTo>
                    <a:pt x="0" y="0"/>
                  </a:lnTo>
                  <a:cubicBezTo>
                    <a:pt x="0" y="12"/>
                    <a:pt x="16" y="20"/>
                    <a:pt x="30" y="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Idea">
              <a:extLst>
                <a:ext uri="{FF2B5EF4-FFF2-40B4-BE49-F238E27FC236}">
                  <a16:creationId xmlns:a16="http://schemas.microsoft.com/office/drawing/2014/main" id="{DDBCDFD5-D4A1-47E2-8FB6-3C7928A9950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01" y="81"/>
              <a:ext cx="49" cy="55"/>
            </a:xfrm>
            <a:custGeom>
              <a:avLst/>
              <a:gdLst>
                <a:gd name="T0" fmla="*/ 35 w 132"/>
                <a:gd name="T1" fmla="*/ 18 h 144"/>
                <a:gd name="T2" fmla="*/ 16 w 132"/>
                <a:gd name="T3" fmla="*/ 35 h 144"/>
                <a:gd name="T4" fmla="*/ 113 w 132"/>
                <a:gd name="T5" fmla="*/ 144 h 144"/>
                <a:gd name="T6" fmla="*/ 132 w 132"/>
                <a:gd name="T7" fmla="*/ 127 h 144"/>
                <a:gd name="T8" fmla="*/ 35 w 132"/>
                <a:gd name="T9" fmla="*/ 1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44">
                  <a:moveTo>
                    <a:pt x="35" y="18"/>
                  </a:moveTo>
                  <a:cubicBezTo>
                    <a:pt x="19" y="0"/>
                    <a:pt x="0" y="17"/>
                    <a:pt x="16" y="35"/>
                  </a:cubicBezTo>
                  <a:cubicBezTo>
                    <a:pt x="19" y="39"/>
                    <a:pt x="113" y="144"/>
                    <a:pt x="113" y="144"/>
                  </a:cubicBezTo>
                  <a:lnTo>
                    <a:pt x="132" y="127"/>
                  </a:lnTo>
                  <a:cubicBezTo>
                    <a:pt x="132" y="127"/>
                    <a:pt x="39" y="22"/>
                    <a:pt x="35" y="1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Idea">
              <a:extLst>
                <a:ext uri="{FF2B5EF4-FFF2-40B4-BE49-F238E27FC236}">
                  <a16:creationId xmlns:a16="http://schemas.microsoft.com/office/drawing/2014/main" id="{573271FE-6A10-41A1-ADDB-74193324765B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72" y="265"/>
              <a:ext cx="35" cy="6"/>
            </a:xfrm>
            <a:custGeom>
              <a:avLst/>
              <a:gdLst>
                <a:gd name="T0" fmla="*/ 87 w 93"/>
                <a:gd name="T1" fmla="*/ 0 h 16"/>
                <a:gd name="T2" fmla="*/ 6 w 93"/>
                <a:gd name="T3" fmla="*/ 0 h 16"/>
                <a:gd name="T4" fmla="*/ 0 w 93"/>
                <a:gd name="T5" fmla="*/ 6 h 16"/>
                <a:gd name="T6" fmla="*/ 0 w 93"/>
                <a:gd name="T7" fmla="*/ 10 h 16"/>
                <a:gd name="T8" fmla="*/ 6 w 93"/>
                <a:gd name="T9" fmla="*/ 16 h 16"/>
                <a:gd name="T10" fmla="*/ 87 w 93"/>
                <a:gd name="T11" fmla="*/ 16 h 16"/>
                <a:gd name="T12" fmla="*/ 92 w 93"/>
                <a:gd name="T13" fmla="*/ 10 h 16"/>
                <a:gd name="T14" fmla="*/ 92 w 93"/>
                <a:gd name="T15" fmla="*/ 6 h 16"/>
                <a:gd name="T16" fmla="*/ 87 w 93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16">
                  <a:moveTo>
                    <a:pt x="87" y="0"/>
                  </a:moveTo>
                  <a:lnTo>
                    <a:pt x="6" y="0"/>
                  </a:lnTo>
                  <a:cubicBezTo>
                    <a:pt x="3" y="0"/>
                    <a:pt x="0" y="3"/>
                    <a:pt x="0" y="6"/>
                  </a:cubicBezTo>
                  <a:lnTo>
                    <a:pt x="0" y="10"/>
                  </a:lnTo>
                  <a:cubicBezTo>
                    <a:pt x="0" y="13"/>
                    <a:pt x="3" y="16"/>
                    <a:pt x="6" y="16"/>
                  </a:cubicBezTo>
                  <a:lnTo>
                    <a:pt x="87" y="16"/>
                  </a:lnTo>
                  <a:cubicBezTo>
                    <a:pt x="90" y="16"/>
                    <a:pt x="92" y="13"/>
                    <a:pt x="92" y="10"/>
                  </a:cubicBezTo>
                  <a:lnTo>
                    <a:pt x="92" y="6"/>
                  </a:lnTo>
                  <a:cubicBezTo>
                    <a:pt x="93" y="3"/>
                    <a:pt x="90" y="0"/>
                    <a:pt x="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Idea">
              <a:extLst>
                <a:ext uri="{FF2B5EF4-FFF2-40B4-BE49-F238E27FC236}">
                  <a16:creationId xmlns:a16="http://schemas.microsoft.com/office/drawing/2014/main" id="{AA64B2E6-E005-4173-87BA-59D927E323B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85" y="53"/>
              <a:ext cx="10" cy="64"/>
            </a:xfrm>
            <a:custGeom>
              <a:avLst/>
              <a:gdLst>
                <a:gd name="T0" fmla="*/ 25 w 25"/>
                <a:gd name="T1" fmla="*/ 24 h 170"/>
                <a:gd name="T2" fmla="*/ 0 w 25"/>
                <a:gd name="T3" fmla="*/ 24 h 170"/>
                <a:gd name="T4" fmla="*/ 0 w 25"/>
                <a:gd name="T5" fmla="*/ 170 h 170"/>
                <a:gd name="T6" fmla="*/ 25 w 25"/>
                <a:gd name="T7" fmla="*/ 170 h 170"/>
                <a:gd name="T8" fmla="*/ 25 w 25"/>
                <a:gd name="T9" fmla="*/ 2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0">
                  <a:moveTo>
                    <a:pt x="25" y="24"/>
                  </a:moveTo>
                  <a:cubicBezTo>
                    <a:pt x="25" y="0"/>
                    <a:pt x="0" y="0"/>
                    <a:pt x="0" y="24"/>
                  </a:cubicBezTo>
                  <a:lnTo>
                    <a:pt x="0" y="170"/>
                  </a:lnTo>
                  <a:lnTo>
                    <a:pt x="25" y="170"/>
                  </a:lnTo>
                  <a:lnTo>
                    <a:pt x="25" y="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Idea">
              <a:extLst>
                <a:ext uri="{FF2B5EF4-FFF2-40B4-BE49-F238E27FC236}">
                  <a16:creationId xmlns:a16="http://schemas.microsoft.com/office/drawing/2014/main" id="{CF65471B-1E75-4FD5-8F6E-31D0C3E4E33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9" y="158"/>
              <a:ext cx="65" cy="20"/>
            </a:xfrm>
            <a:custGeom>
              <a:avLst/>
              <a:gdLst>
                <a:gd name="T0" fmla="*/ 24 w 172"/>
                <a:gd name="T1" fmla="*/ 29 h 52"/>
                <a:gd name="T2" fmla="*/ 168 w 172"/>
                <a:gd name="T3" fmla="*/ 52 h 52"/>
                <a:gd name="T4" fmla="*/ 172 w 172"/>
                <a:gd name="T5" fmla="*/ 26 h 52"/>
                <a:gd name="T6" fmla="*/ 27 w 172"/>
                <a:gd name="T7" fmla="*/ 4 h 52"/>
                <a:gd name="T8" fmla="*/ 24 w 172"/>
                <a:gd name="T9" fmla="*/ 2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52">
                  <a:moveTo>
                    <a:pt x="24" y="29"/>
                  </a:moveTo>
                  <a:cubicBezTo>
                    <a:pt x="29" y="30"/>
                    <a:pt x="168" y="52"/>
                    <a:pt x="168" y="52"/>
                  </a:cubicBezTo>
                  <a:lnTo>
                    <a:pt x="172" y="26"/>
                  </a:lnTo>
                  <a:cubicBezTo>
                    <a:pt x="172" y="26"/>
                    <a:pt x="33" y="5"/>
                    <a:pt x="27" y="4"/>
                  </a:cubicBezTo>
                  <a:cubicBezTo>
                    <a:pt x="4" y="0"/>
                    <a:pt x="0" y="26"/>
                    <a:pt x="24" y="2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Idea">
              <a:extLst>
                <a:ext uri="{FF2B5EF4-FFF2-40B4-BE49-F238E27FC236}">
                  <a16:creationId xmlns:a16="http://schemas.microsoft.com/office/drawing/2014/main" id="{DA60FF59-3FD0-46D8-B9B4-B0BE4711ED7A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56" y="159"/>
              <a:ext cx="65" cy="20"/>
            </a:xfrm>
            <a:custGeom>
              <a:avLst/>
              <a:gdLst>
                <a:gd name="T0" fmla="*/ 145 w 172"/>
                <a:gd name="T1" fmla="*/ 4 h 52"/>
                <a:gd name="T2" fmla="*/ 0 w 172"/>
                <a:gd name="T3" fmla="*/ 26 h 52"/>
                <a:gd name="T4" fmla="*/ 4 w 172"/>
                <a:gd name="T5" fmla="*/ 52 h 52"/>
                <a:gd name="T6" fmla="*/ 149 w 172"/>
                <a:gd name="T7" fmla="*/ 29 h 52"/>
                <a:gd name="T8" fmla="*/ 145 w 172"/>
                <a:gd name="T9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52">
                  <a:moveTo>
                    <a:pt x="145" y="4"/>
                  </a:moveTo>
                  <a:cubicBezTo>
                    <a:pt x="139" y="5"/>
                    <a:pt x="0" y="26"/>
                    <a:pt x="0" y="26"/>
                  </a:cubicBezTo>
                  <a:lnTo>
                    <a:pt x="4" y="52"/>
                  </a:lnTo>
                  <a:cubicBezTo>
                    <a:pt x="4" y="52"/>
                    <a:pt x="143" y="30"/>
                    <a:pt x="149" y="29"/>
                  </a:cubicBezTo>
                  <a:cubicBezTo>
                    <a:pt x="172" y="26"/>
                    <a:pt x="168" y="0"/>
                    <a:pt x="145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Idea">
              <a:extLst>
                <a:ext uri="{FF2B5EF4-FFF2-40B4-BE49-F238E27FC236}">
                  <a16:creationId xmlns:a16="http://schemas.microsoft.com/office/drawing/2014/main" id="{AC508C10-6EA6-4269-BF7F-6F78EA187944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256"/>
              <a:ext cx="35" cy="6"/>
            </a:xfrm>
            <a:custGeom>
              <a:avLst/>
              <a:gdLst>
                <a:gd name="T0" fmla="*/ 87 w 93"/>
                <a:gd name="T1" fmla="*/ 0 h 16"/>
                <a:gd name="T2" fmla="*/ 6 w 93"/>
                <a:gd name="T3" fmla="*/ 0 h 16"/>
                <a:gd name="T4" fmla="*/ 0 w 93"/>
                <a:gd name="T5" fmla="*/ 6 h 16"/>
                <a:gd name="T6" fmla="*/ 0 w 93"/>
                <a:gd name="T7" fmla="*/ 10 h 16"/>
                <a:gd name="T8" fmla="*/ 6 w 93"/>
                <a:gd name="T9" fmla="*/ 16 h 16"/>
                <a:gd name="T10" fmla="*/ 87 w 93"/>
                <a:gd name="T11" fmla="*/ 16 h 16"/>
                <a:gd name="T12" fmla="*/ 92 w 93"/>
                <a:gd name="T13" fmla="*/ 10 h 16"/>
                <a:gd name="T14" fmla="*/ 92 w 93"/>
                <a:gd name="T15" fmla="*/ 6 h 16"/>
                <a:gd name="T16" fmla="*/ 87 w 93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16">
                  <a:moveTo>
                    <a:pt x="87" y="0"/>
                  </a:moveTo>
                  <a:lnTo>
                    <a:pt x="6" y="0"/>
                  </a:lnTo>
                  <a:cubicBezTo>
                    <a:pt x="3" y="0"/>
                    <a:pt x="0" y="3"/>
                    <a:pt x="0" y="6"/>
                  </a:cubicBezTo>
                  <a:lnTo>
                    <a:pt x="0" y="10"/>
                  </a:lnTo>
                  <a:cubicBezTo>
                    <a:pt x="0" y="13"/>
                    <a:pt x="3" y="16"/>
                    <a:pt x="6" y="16"/>
                  </a:cubicBezTo>
                  <a:lnTo>
                    <a:pt x="87" y="16"/>
                  </a:lnTo>
                  <a:cubicBezTo>
                    <a:pt x="90" y="16"/>
                    <a:pt x="92" y="13"/>
                    <a:pt x="92" y="10"/>
                  </a:cubicBezTo>
                  <a:lnTo>
                    <a:pt x="92" y="6"/>
                  </a:lnTo>
                  <a:cubicBezTo>
                    <a:pt x="93" y="3"/>
                    <a:pt x="90" y="0"/>
                    <a:pt x="8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Idea">
              <a:extLst>
                <a:ext uri="{FF2B5EF4-FFF2-40B4-BE49-F238E27FC236}">
                  <a16:creationId xmlns:a16="http://schemas.microsoft.com/office/drawing/2014/main" id="{CB17CBC9-C673-4B38-9C11-F29F2A1B425E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30" y="81"/>
              <a:ext cx="49" cy="55"/>
            </a:xfrm>
            <a:custGeom>
              <a:avLst/>
              <a:gdLst>
                <a:gd name="T0" fmla="*/ 97 w 132"/>
                <a:gd name="T1" fmla="*/ 18 h 144"/>
                <a:gd name="T2" fmla="*/ 0 w 132"/>
                <a:gd name="T3" fmla="*/ 127 h 144"/>
                <a:gd name="T4" fmla="*/ 19 w 132"/>
                <a:gd name="T5" fmla="*/ 144 h 144"/>
                <a:gd name="T6" fmla="*/ 117 w 132"/>
                <a:gd name="T7" fmla="*/ 35 h 144"/>
                <a:gd name="T8" fmla="*/ 97 w 132"/>
                <a:gd name="T9" fmla="*/ 1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44">
                  <a:moveTo>
                    <a:pt x="97" y="18"/>
                  </a:moveTo>
                  <a:cubicBezTo>
                    <a:pt x="94" y="22"/>
                    <a:pt x="0" y="127"/>
                    <a:pt x="0" y="127"/>
                  </a:cubicBezTo>
                  <a:lnTo>
                    <a:pt x="19" y="144"/>
                  </a:lnTo>
                  <a:cubicBezTo>
                    <a:pt x="19" y="144"/>
                    <a:pt x="113" y="39"/>
                    <a:pt x="117" y="35"/>
                  </a:cubicBezTo>
                  <a:cubicBezTo>
                    <a:pt x="132" y="17"/>
                    <a:pt x="113" y="0"/>
                    <a:pt x="97" y="1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Idea">
              <a:extLst>
                <a:ext uri="{FF2B5EF4-FFF2-40B4-BE49-F238E27FC236}">
                  <a16:creationId xmlns:a16="http://schemas.microsoft.com/office/drawing/2014/main" id="{12DB293E-44FB-4CB5-AACF-49B6512CDDC9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13" y="11"/>
              <a:ext cx="398" cy="462"/>
            </a:xfrm>
            <a:custGeom>
              <a:avLst/>
              <a:gdLst>
                <a:gd name="T0" fmla="*/ 1056 w 1059"/>
                <a:gd name="T1" fmla="*/ 738 h 1229"/>
                <a:gd name="T2" fmla="*/ 956 w 1059"/>
                <a:gd name="T3" fmla="*/ 487 h 1229"/>
                <a:gd name="T4" fmla="*/ 936 w 1059"/>
                <a:gd name="T5" fmla="*/ 343 h 1229"/>
                <a:gd name="T6" fmla="*/ 477 w 1059"/>
                <a:gd name="T7" fmla="*/ 0 h 1229"/>
                <a:gd name="T8" fmla="*/ 0 w 1059"/>
                <a:gd name="T9" fmla="*/ 478 h 1229"/>
                <a:gd name="T10" fmla="*/ 182 w 1059"/>
                <a:gd name="T11" fmla="*/ 855 h 1229"/>
                <a:gd name="T12" fmla="*/ 182 w 1059"/>
                <a:gd name="T13" fmla="*/ 1163 h 1229"/>
                <a:gd name="T14" fmla="*/ 182 w 1059"/>
                <a:gd name="T15" fmla="*/ 1163 h 1229"/>
                <a:gd name="T16" fmla="*/ 249 w 1059"/>
                <a:gd name="T17" fmla="*/ 1229 h 1229"/>
                <a:gd name="T18" fmla="*/ 626 w 1059"/>
                <a:gd name="T19" fmla="*/ 1229 h 1229"/>
                <a:gd name="T20" fmla="*/ 692 w 1059"/>
                <a:gd name="T21" fmla="*/ 1164 h 1229"/>
                <a:gd name="T22" fmla="*/ 692 w 1059"/>
                <a:gd name="T23" fmla="*/ 1012 h 1229"/>
                <a:gd name="T24" fmla="*/ 881 w 1059"/>
                <a:gd name="T25" fmla="*/ 1033 h 1229"/>
                <a:gd name="T26" fmla="*/ 956 w 1059"/>
                <a:gd name="T27" fmla="*/ 925 h 1229"/>
                <a:gd name="T28" fmla="*/ 956 w 1059"/>
                <a:gd name="T29" fmla="*/ 792 h 1229"/>
                <a:gd name="T30" fmla="*/ 1020 w 1059"/>
                <a:gd name="T31" fmla="*/ 792 h 1229"/>
                <a:gd name="T32" fmla="*/ 1059 w 1059"/>
                <a:gd name="T33" fmla="*/ 753 h 1229"/>
                <a:gd name="T34" fmla="*/ 1056 w 1059"/>
                <a:gd name="T35" fmla="*/ 738 h 1229"/>
                <a:gd name="T36" fmla="*/ 741 w 1059"/>
                <a:gd name="T37" fmla="*/ 481 h 1229"/>
                <a:gd name="T38" fmla="*/ 728 w 1059"/>
                <a:gd name="T39" fmla="*/ 550 h 1229"/>
                <a:gd name="T40" fmla="*/ 798 w 1059"/>
                <a:gd name="T41" fmla="*/ 628 h 1229"/>
                <a:gd name="T42" fmla="*/ 771 w 1059"/>
                <a:gd name="T43" fmla="*/ 675 h 1229"/>
                <a:gd name="T44" fmla="*/ 667 w 1059"/>
                <a:gd name="T45" fmla="*/ 652 h 1229"/>
                <a:gd name="T46" fmla="*/ 614 w 1059"/>
                <a:gd name="T47" fmla="*/ 697 h 1229"/>
                <a:gd name="T48" fmla="*/ 617 w 1059"/>
                <a:gd name="T49" fmla="*/ 802 h 1229"/>
                <a:gd name="T50" fmla="*/ 566 w 1059"/>
                <a:gd name="T51" fmla="*/ 821 h 1229"/>
                <a:gd name="T52" fmla="*/ 502 w 1059"/>
                <a:gd name="T53" fmla="*/ 737 h 1229"/>
                <a:gd name="T54" fmla="*/ 432 w 1059"/>
                <a:gd name="T55" fmla="*/ 737 h 1229"/>
                <a:gd name="T56" fmla="*/ 367 w 1059"/>
                <a:gd name="T57" fmla="*/ 819 h 1229"/>
                <a:gd name="T58" fmla="*/ 316 w 1059"/>
                <a:gd name="T59" fmla="*/ 800 h 1229"/>
                <a:gd name="T60" fmla="*/ 321 w 1059"/>
                <a:gd name="T61" fmla="*/ 696 h 1229"/>
                <a:gd name="T62" fmla="*/ 291 w 1059"/>
                <a:gd name="T63" fmla="*/ 674 h 1229"/>
                <a:gd name="T64" fmla="*/ 266 w 1059"/>
                <a:gd name="T65" fmla="*/ 650 h 1229"/>
                <a:gd name="T66" fmla="*/ 165 w 1059"/>
                <a:gd name="T67" fmla="*/ 671 h 1229"/>
                <a:gd name="T68" fmla="*/ 138 w 1059"/>
                <a:gd name="T69" fmla="*/ 623 h 1229"/>
                <a:gd name="T70" fmla="*/ 208 w 1059"/>
                <a:gd name="T71" fmla="*/ 548 h 1229"/>
                <a:gd name="T72" fmla="*/ 195 w 1059"/>
                <a:gd name="T73" fmla="*/ 476 h 1229"/>
                <a:gd name="T74" fmla="*/ 105 w 1059"/>
                <a:gd name="T75" fmla="*/ 427 h 1229"/>
                <a:gd name="T76" fmla="*/ 115 w 1059"/>
                <a:gd name="T77" fmla="*/ 374 h 1229"/>
                <a:gd name="T78" fmla="*/ 216 w 1059"/>
                <a:gd name="T79" fmla="*/ 361 h 1229"/>
                <a:gd name="T80" fmla="*/ 253 w 1059"/>
                <a:gd name="T81" fmla="*/ 297 h 1229"/>
                <a:gd name="T82" fmla="*/ 215 w 1059"/>
                <a:gd name="T83" fmla="*/ 203 h 1229"/>
                <a:gd name="T84" fmla="*/ 258 w 1059"/>
                <a:gd name="T85" fmla="*/ 168 h 1229"/>
                <a:gd name="T86" fmla="*/ 343 w 1059"/>
                <a:gd name="T87" fmla="*/ 223 h 1229"/>
                <a:gd name="T88" fmla="*/ 413 w 1059"/>
                <a:gd name="T89" fmla="*/ 199 h 1229"/>
                <a:gd name="T90" fmla="*/ 445 w 1059"/>
                <a:gd name="T91" fmla="*/ 101 h 1229"/>
                <a:gd name="T92" fmla="*/ 499 w 1059"/>
                <a:gd name="T93" fmla="*/ 102 h 1229"/>
                <a:gd name="T94" fmla="*/ 530 w 1059"/>
                <a:gd name="T95" fmla="*/ 200 h 1229"/>
                <a:gd name="T96" fmla="*/ 598 w 1059"/>
                <a:gd name="T97" fmla="*/ 225 h 1229"/>
                <a:gd name="T98" fmla="*/ 685 w 1059"/>
                <a:gd name="T99" fmla="*/ 171 h 1229"/>
                <a:gd name="T100" fmla="*/ 707 w 1059"/>
                <a:gd name="T101" fmla="*/ 188 h 1229"/>
                <a:gd name="T102" fmla="*/ 727 w 1059"/>
                <a:gd name="T103" fmla="*/ 207 h 1229"/>
                <a:gd name="T104" fmla="*/ 687 w 1059"/>
                <a:gd name="T105" fmla="*/ 302 h 1229"/>
                <a:gd name="T106" fmla="*/ 722 w 1059"/>
                <a:gd name="T107" fmla="*/ 364 h 1229"/>
                <a:gd name="T108" fmla="*/ 825 w 1059"/>
                <a:gd name="T109" fmla="*/ 379 h 1229"/>
                <a:gd name="T110" fmla="*/ 834 w 1059"/>
                <a:gd name="T111" fmla="*/ 433 h 1229"/>
                <a:gd name="T112" fmla="*/ 741 w 1059"/>
                <a:gd name="T113" fmla="*/ 481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59" h="1229">
                  <a:moveTo>
                    <a:pt x="1056" y="738"/>
                  </a:moveTo>
                  <a:lnTo>
                    <a:pt x="956" y="487"/>
                  </a:lnTo>
                  <a:cubicBezTo>
                    <a:pt x="956" y="487"/>
                    <a:pt x="945" y="382"/>
                    <a:pt x="936" y="343"/>
                  </a:cubicBezTo>
                  <a:cubicBezTo>
                    <a:pt x="894" y="163"/>
                    <a:pt x="694" y="0"/>
                    <a:pt x="477" y="0"/>
                  </a:cubicBezTo>
                  <a:cubicBezTo>
                    <a:pt x="214" y="0"/>
                    <a:pt x="0" y="214"/>
                    <a:pt x="0" y="478"/>
                  </a:cubicBezTo>
                  <a:cubicBezTo>
                    <a:pt x="0" y="631"/>
                    <a:pt x="71" y="767"/>
                    <a:pt x="182" y="855"/>
                  </a:cubicBezTo>
                  <a:lnTo>
                    <a:pt x="182" y="1163"/>
                  </a:lnTo>
                  <a:lnTo>
                    <a:pt x="182" y="1163"/>
                  </a:lnTo>
                  <a:cubicBezTo>
                    <a:pt x="183" y="1199"/>
                    <a:pt x="213" y="1229"/>
                    <a:pt x="249" y="1229"/>
                  </a:cubicBezTo>
                  <a:lnTo>
                    <a:pt x="626" y="1229"/>
                  </a:lnTo>
                  <a:cubicBezTo>
                    <a:pt x="662" y="1229"/>
                    <a:pt x="691" y="1200"/>
                    <a:pt x="692" y="1164"/>
                  </a:cubicBezTo>
                  <a:lnTo>
                    <a:pt x="692" y="1012"/>
                  </a:lnTo>
                  <a:cubicBezTo>
                    <a:pt x="692" y="1032"/>
                    <a:pt x="836" y="1039"/>
                    <a:pt x="881" y="1033"/>
                  </a:cubicBezTo>
                  <a:cubicBezTo>
                    <a:pt x="934" y="1025"/>
                    <a:pt x="956" y="978"/>
                    <a:pt x="956" y="925"/>
                  </a:cubicBezTo>
                  <a:lnTo>
                    <a:pt x="956" y="792"/>
                  </a:lnTo>
                  <a:lnTo>
                    <a:pt x="1020" y="792"/>
                  </a:lnTo>
                  <a:cubicBezTo>
                    <a:pt x="1041" y="792"/>
                    <a:pt x="1059" y="774"/>
                    <a:pt x="1059" y="753"/>
                  </a:cubicBezTo>
                  <a:cubicBezTo>
                    <a:pt x="1059" y="748"/>
                    <a:pt x="1058" y="743"/>
                    <a:pt x="1056" y="738"/>
                  </a:cubicBezTo>
                  <a:close/>
                  <a:moveTo>
                    <a:pt x="741" y="481"/>
                  </a:moveTo>
                  <a:cubicBezTo>
                    <a:pt x="739" y="504"/>
                    <a:pt x="735" y="527"/>
                    <a:pt x="728" y="550"/>
                  </a:cubicBezTo>
                  <a:lnTo>
                    <a:pt x="798" y="628"/>
                  </a:lnTo>
                  <a:cubicBezTo>
                    <a:pt x="790" y="644"/>
                    <a:pt x="781" y="660"/>
                    <a:pt x="771" y="675"/>
                  </a:cubicBezTo>
                  <a:lnTo>
                    <a:pt x="667" y="652"/>
                  </a:lnTo>
                  <a:cubicBezTo>
                    <a:pt x="651" y="670"/>
                    <a:pt x="633" y="685"/>
                    <a:pt x="614" y="697"/>
                  </a:cubicBezTo>
                  <a:lnTo>
                    <a:pt x="617" y="802"/>
                  </a:lnTo>
                  <a:cubicBezTo>
                    <a:pt x="600" y="810"/>
                    <a:pt x="583" y="816"/>
                    <a:pt x="566" y="821"/>
                  </a:cubicBezTo>
                  <a:lnTo>
                    <a:pt x="502" y="737"/>
                  </a:lnTo>
                  <a:cubicBezTo>
                    <a:pt x="479" y="740"/>
                    <a:pt x="455" y="740"/>
                    <a:pt x="432" y="737"/>
                  </a:cubicBezTo>
                  <a:lnTo>
                    <a:pt x="367" y="819"/>
                  </a:lnTo>
                  <a:cubicBezTo>
                    <a:pt x="350" y="814"/>
                    <a:pt x="333" y="808"/>
                    <a:pt x="316" y="800"/>
                  </a:cubicBezTo>
                  <a:lnTo>
                    <a:pt x="321" y="696"/>
                  </a:lnTo>
                  <a:cubicBezTo>
                    <a:pt x="311" y="689"/>
                    <a:pt x="301" y="682"/>
                    <a:pt x="291" y="674"/>
                  </a:cubicBezTo>
                  <a:cubicBezTo>
                    <a:pt x="282" y="666"/>
                    <a:pt x="274" y="658"/>
                    <a:pt x="266" y="650"/>
                  </a:cubicBezTo>
                  <a:lnTo>
                    <a:pt x="165" y="671"/>
                  </a:lnTo>
                  <a:cubicBezTo>
                    <a:pt x="155" y="656"/>
                    <a:pt x="146" y="640"/>
                    <a:pt x="138" y="623"/>
                  </a:cubicBezTo>
                  <a:lnTo>
                    <a:pt x="208" y="548"/>
                  </a:lnTo>
                  <a:cubicBezTo>
                    <a:pt x="200" y="525"/>
                    <a:pt x="196" y="500"/>
                    <a:pt x="195" y="476"/>
                  </a:cubicBezTo>
                  <a:lnTo>
                    <a:pt x="105" y="427"/>
                  </a:lnTo>
                  <a:cubicBezTo>
                    <a:pt x="107" y="410"/>
                    <a:pt x="111" y="392"/>
                    <a:pt x="115" y="374"/>
                  </a:cubicBezTo>
                  <a:lnTo>
                    <a:pt x="216" y="361"/>
                  </a:lnTo>
                  <a:cubicBezTo>
                    <a:pt x="225" y="339"/>
                    <a:pt x="238" y="317"/>
                    <a:pt x="253" y="297"/>
                  </a:cubicBezTo>
                  <a:lnTo>
                    <a:pt x="215" y="203"/>
                  </a:lnTo>
                  <a:cubicBezTo>
                    <a:pt x="229" y="190"/>
                    <a:pt x="243" y="179"/>
                    <a:pt x="258" y="168"/>
                  </a:cubicBezTo>
                  <a:lnTo>
                    <a:pt x="343" y="223"/>
                  </a:lnTo>
                  <a:cubicBezTo>
                    <a:pt x="365" y="211"/>
                    <a:pt x="389" y="203"/>
                    <a:pt x="413" y="199"/>
                  </a:cubicBezTo>
                  <a:lnTo>
                    <a:pt x="445" y="101"/>
                  </a:lnTo>
                  <a:cubicBezTo>
                    <a:pt x="463" y="100"/>
                    <a:pt x="481" y="101"/>
                    <a:pt x="499" y="102"/>
                  </a:cubicBezTo>
                  <a:lnTo>
                    <a:pt x="530" y="200"/>
                  </a:lnTo>
                  <a:cubicBezTo>
                    <a:pt x="553" y="205"/>
                    <a:pt x="576" y="214"/>
                    <a:pt x="598" y="225"/>
                  </a:cubicBezTo>
                  <a:lnTo>
                    <a:pt x="685" y="171"/>
                  </a:lnTo>
                  <a:cubicBezTo>
                    <a:pt x="693" y="177"/>
                    <a:pt x="700" y="182"/>
                    <a:pt x="707" y="188"/>
                  </a:cubicBezTo>
                  <a:cubicBezTo>
                    <a:pt x="714" y="194"/>
                    <a:pt x="720" y="200"/>
                    <a:pt x="727" y="207"/>
                  </a:cubicBezTo>
                  <a:lnTo>
                    <a:pt x="687" y="302"/>
                  </a:lnTo>
                  <a:cubicBezTo>
                    <a:pt x="701" y="322"/>
                    <a:pt x="713" y="342"/>
                    <a:pt x="722" y="364"/>
                  </a:cubicBezTo>
                  <a:lnTo>
                    <a:pt x="825" y="379"/>
                  </a:lnTo>
                  <a:cubicBezTo>
                    <a:pt x="829" y="397"/>
                    <a:pt x="832" y="415"/>
                    <a:pt x="834" y="433"/>
                  </a:cubicBezTo>
                  <a:lnTo>
                    <a:pt x="741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Idea">
              <a:extLst>
                <a:ext uri="{FF2B5EF4-FFF2-40B4-BE49-F238E27FC236}">
                  <a16:creationId xmlns:a16="http://schemas.microsoft.com/office/drawing/2014/main" id="{A3F161BE-B51D-4D79-AC0A-42F35950164C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48" y="140"/>
              <a:ext cx="84" cy="113"/>
            </a:xfrm>
            <a:custGeom>
              <a:avLst/>
              <a:gdLst>
                <a:gd name="T0" fmla="*/ 112 w 223"/>
                <a:gd name="T1" fmla="*/ 0 h 300"/>
                <a:gd name="T2" fmla="*/ 0 w 223"/>
                <a:gd name="T3" fmla="*/ 112 h 300"/>
                <a:gd name="T4" fmla="*/ 14 w 223"/>
                <a:gd name="T5" fmla="*/ 168 h 300"/>
                <a:gd name="T6" fmla="*/ 54 w 223"/>
                <a:gd name="T7" fmla="*/ 272 h 300"/>
                <a:gd name="T8" fmla="*/ 80 w 223"/>
                <a:gd name="T9" fmla="*/ 300 h 300"/>
                <a:gd name="T10" fmla="*/ 112 w 223"/>
                <a:gd name="T11" fmla="*/ 300 h 300"/>
                <a:gd name="T12" fmla="*/ 143 w 223"/>
                <a:gd name="T13" fmla="*/ 300 h 300"/>
                <a:gd name="T14" fmla="*/ 169 w 223"/>
                <a:gd name="T15" fmla="*/ 272 h 300"/>
                <a:gd name="T16" fmla="*/ 209 w 223"/>
                <a:gd name="T17" fmla="*/ 168 h 300"/>
                <a:gd name="T18" fmla="*/ 223 w 223"/>
                <a:gd name="T19" fmla="*/ 112 h 300"/>
                <a:gd name="T20" fmla="*/ 112 w 223"/>
                <a:gd name="T21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3" h="300">
                  <a:moveTo>
                    <a:pt x="112" y="0"/>
                  </a:moveTo>
                  <a:cubicBezTo>
                    <a:pt x="50" y="0"/>
                    <a:pt x="0" y="50"/>
                    <a:pt x="0" y="112"/>
                  </a:cubicBezTo>
                  <a:cubicBezTo>
                    <a:pt x="0" y="132"/>
                    <a:pt x="5" y="151"/>
                    <a:pt x="14" y="168"/>
                  </a:cubicBezTo>
                  <a:cubicBezTo>
                    <a:pt x="42" y="217"/>
                    <a:pt x="49" y="245"/>
                    <a:pt x="54" y="272"/>
                  </a:cubicBezTo>
                  <a:cubicBezTo>
                    <a:pt x="57" y="295"/>
                    <a:pt x="63" y="300"/>
                    <a:pt x="80" y="300"/>
                  </a:cubicBezTo>
                  <a:lnTo>
                    <a:pt x="112" y="300"/>
                  </a:lnTo>
                  <a:lnTo>
                    <a:pt x="143" y="300"/>
                  </a:lnTo>
                  <a:cubicBezTo>
                    <a:pt x="160" y="300"/>
                    <a:pt x="165" y="295"/>
                    <a:pt x="169" y="272"/>
                  </a:cubicBezTo>
                  <a:cubicBezTo>
                    <a:pt x="174" y="245"/>
                    <a:pt x="181" y="217"/>
                    <a:pt x="209" y="168"/>
                  </a:cubicBezTo>
                  <a:cubicBezTo>
                    <a:pt x="218" y="151"/>
                    <a:pt x="223" y="132"/>
                    <a:pt x="223" y="112"/>
                  </a:cubicBezTo>
                  <a:cubicBezTo>
                    <a:pt x="223" y="50"/>
                    <a:pt x="173" y="0"/>
                    <a:pt x="11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5" name="Book3">
            <a:extLst>
              <a:ext uri="{FF2B5EF4-FFF2-40B4-BE49-F238E27FC236}">
                <a16:creationId xmlns:a16="http://schemas.microsoft.com/office/drawing/2014/main" id="{BDD742FB-7551-4ADE-92F7-CA7831C887E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963427" y="3909770"/>
            <a:ext cx="202257" cy="362986"/>
          </a:xfrm>
          <a:custGeom>
            <a:avLst/>
            <a:gdLst>
              <a:gd name="T0" fmla="*/ 660 w 701"/>
              <a:gd name="T1" fmla="*/ 1171 h 1253"/>
              <a:gd name="T2" fmla="*/ 641 w 701"/>
              <a:gd name="T3" fmla="*/ 1171 h 1253"/>
              <a:gd name="T4" fmla="*/ 630 w 701"/>
              <a:gd name="T5" fmla="*/ 1123 h 1253"/>
              <a:gd name="T6" fmla="*/ 669 w 701"/>
              <a:gd name="T7" fmla="*/ 1060 h 1253"/>
              <a:gd name="T8" fmla="*/ 669 w 701"/>
              <a:gd name="T9" fmla="*/ 1060 h 1253"/>
              <a:gd name="T10" fmla="*/ 696 w 701"/>
              <a:gd name="T11" fmla="*/ 1022 h 1253"/>
              <a:gd name="T12" fmla="*/ 697 w 701"/>
              <a:gd name="T13" fmla="*/ 180 h 1253"/>
              <a:gd name="T14" fmla="*/ 656 w 701"/>
              <a:gd name="T15" fmla="*/ 139 h 1253"/>
              <a:gd name="T16" fmla="*/ 442 w 701"/>
              <a:gd name="T17" fmla="*/ 138 h 1253"/>
              <a:gd name="T18" fmla="*/ 442 w 701"/>
              <a:gd name="T19" fmla="*/ 44 h 1253"/>
              <a:gd name="T20" fmla="*/ 417 w 701"/>
              <a:gd name="T21" fmla="*/ 6 h 1253"/>
              <a:gd name="T22" fmla="*/ 373 w 701"/>
              <a:gd name="T23" fmla="*/ 15 h 1253"/>
              <a:gd name="T24" fmla="*/ 91 w 701"/>
              <a:gd name="T25" fmla="*/ 298 h 1253"/>
              <a:gd name="T26" fmla="*/ 2 w 701"/>
              <a:gd name="T27" fmla="*/ 512 h 1253"/>
              <a:gd name="T28" fmla="*/ 0 w 701"/>
              <a:gd name="T29" fmla="*/ 1101 h 1253"/>
              <a:gd name="T30" fmla="*/ 148 w 701"/>
              <a:gd name="T31" fmla="*/ 1251 h 1253"/>
              <a:gd name="T32" fmla="*/ 660 w 701"/>
              <a:gd name="T33" fmla="*/ 1253 h 1253"/>
              <a:gd name="T34" fmla="*/ 701 w 701"/>
              <a:gd name="T35" fmla="*/ 1212 h 1253"/>
              <a:gd name="T36" fmla="*/ 701 w 701"/>
              <a:gd name="T37" fmla="*/ 1212 h 1253"/>
              <a:gd name="T38" fmla="*/ 660 w 701"/>
              <a:gd name="T39" fmla="*/ 1171 h 1253"/>
              <a:gd name="T40" fmla="*/ 615 w 701"/>
              <a:gd name="T41" fmla="*/ 220 h 1253"/>
              <a:gd name="T42" fmla="*/ 615 w 701"/>
              <a:gd name="T43" fmla="*/ 981 h 1253"/>
              <a:gd name="T44" fmla="*/ 153 w 701"/>
              <a:gd name="T45" fmla="*/ 981 h 1253"/>
              <a:gd name="T46" fmla="*/ 442 w 701"/>
              <a:gd name="T47" fmla="*/ 736 h 1253"/>
              <a:gd name="T48" fmla="*/ 441 w 701"/>
              <a:gd name="T49" fmla="*/ 220 h 1253"/>
              <a:gd name="T50" fmla="*/ 615 w 701"/>
              <a:gd name="T51" fmla="*/ 220 h 1253"/>
              <a:gd name="T52" fmla="*/ 81 w 701"/>
              <a:gd name="T53" fmla="*/ 1101 h 1253"/>
              <a:gd name="T54" fmla="*/ 81 w 701"/>
              <a:gd name="T55" fmla="*/ 1063 h 1253"/>
              <a:gd name="T56" fmla="*/ 565 w 701"/>
              <a:gd name="T57" fmla="*/ 1063 h 1253"/>
              <a:gd name="T58" fmla="*/ 550 w 701"/>
              <a:gd name="T59" fmla="*/ 1109 h 1253"/>
              <a:gd name="T60" fmla="*/ 553 w 701"/>
              <a:gd name="T61" fmla="*/ 1171 h 1253"/>
              <a:gd name="T62" fmla="*/ 148 w 701"/>
              <a:gd name="T63" fmla="*/ 1169 h 1253"/>
              <a:gd name="T64" fmla="*/ 81 w 701"/>
              <a:gd name="T65" fmla="*/ 1101 h 1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01" h="1253">
                <a:moveTo>
                  <a:pt x="660" y="1171"/>
                </a:moveTo>
                <a:lnTo>
                  <a:pt x="641" y="1171"/>
                </a:lnTo>
                <a:cubicBezTo>
                  <a:pt x="630" y="1158"/>
                  <a:pt x="626" y="1143"/>
                  <a:pt x="630" y="1123"/>
                </a:cubicBezTo>
                <a:cubicBezTo>
                  <a:pt x="635" y="1091"/>
                  <a:pt x="658" y="1064"/>
                  <a:pt x="669" y="1060"/>
                </a:cubicBezTo>
                <a:lnTo>
                  <a:pt x="669" y="1060"/>
                </a:lnTo>
                <a:cubicBezTo>
                  <a:pt x="684" y="1054"/>
                  <a:pt x="696" y="1039"/>
                  <a:pt x="696" y="1022"/>
                </a:cubicBezTo>
                <a:lnTo>
                  <a:pt x="697" y="180"/>
                </a:lnTo>
                <a:cubicBezTo>
                  <a:pt x="697" y="157"/>
                  <a:pt x="678" y="139"/>
                  <a:pt x="656" y="139"/>
                </a:cubicBezTo>
                <a:cubicBezTo>
                  <a:pt x="656" y="139"/>
                  <a:pt x="488" y="138"/>
                  <a:pt x="442" y="138"/>
                </a:cubicBezTo>
                <a:cubicBezTo>
                  <a:pt x="442" y="98"/>
                  <a:pt x="442" y="44"/>
                  <a:pt x="442" y="44"/>
                </a:cubicBezTo>
                <a:cubicBezTo>
                  <a:pt x="442" y="27"/>
                  <a:pt x="432" y="13"/>
                  <a:pt x="417" y="6"/>
                </a:cubicBezTo>
                <a:cubicBezTo>
                  <a:pt x="402" y="0"/>
                  <a:pt x="385" y="3"/>
                  <a:pt x="373" y="15"/>
                </a:cubicBezTo>
                <a:lnTo>
                  <a:pt x="91" y="298"/>
                </a:lnTo>
                <a:cubicBezTo>
                  <a:pt x="41" y="348"/>
                  <a:pt x="2" y="442"/>
                  <a:pt x="2" y="512"/>
                </a:cubicBezTo>
                <a:lnTo>
                  <a:pt x="0" y="1101"/>
                </a:lnTo>
                <a:cubicBezTo>
                  <a:pt x="0" y="1184"/>
                  <a:pt x="66" y="1251"/>
                  <a:pt x="148" y="1251"/>
                </a:cubicBezTo>
                <a:lnTo>
                  <a:pt x="660" y="1253"/>
                </a:lnTo>
                <a:cubicBezTo>
                  <a:pt x="683" y="1253"/>
                  <a:pt x="701" y="1235"/>
                  <a:pt x="701" y="1212"/>
                </a:cubicBezTo>
                <a:lnTo>
                  <a:pt x="701" y="1212"/>
                </a:lnTo>
                <a:cubicBezTo>
                  <a:pt x="701" y="1189"/>
                  <a:pt x="683" y="1171"/>
                  <a:pt x="660" y="1171"/>
                </a:cubicBezTo>
                <a:close/>
                <a:moveTo>
                  <a:pt x="615" y="220"/>
                </a:moveTo>
                <a:cubicBezTo>
                  <a:pt x="615" y="291"/>
                  <a:pt x="615" y="910"/>
                  <a:pt x="615" y="981"/>
                </a:cubicBezTo>
                <a:lnTo>
                  <a:pt x="153" y="981"/>
                </a:lnTo>
                <a:lnTo>
                  <a:pt x="442" y="736"/>
                </a:lnTo>
                <a:lnTo>
                  <a:pt x="441" y="220"/>
                </a:lnTo>
                <a:cubicBezTo>
                  <a:pt x="468" y="220"/>
                  <a:pt x="591" y="220"/>
                  <a:pt x="615" y="220"/>
                </a:cubicBezTo>
                <a:close/>
                <a:moveTo>
                  <a:pt x="81" y="1101"/>
                </a:moveTo>
                <a:cubicBezTo>
                  <a:pt x="81" y="1101"/>
                  <a:pt x="81" y="1067"/>
                  <a:pt x="81" y="1063"/>
                </a:cubicBezTo>
                <a:lnTo>
                  <a:pt x="565" y="1063"/>
                </a:lnTo>
                <a:cubicBezTo>
                  <a:pt x="558" y="1077"/>
                  <a:pt x="552" y="1093"/>
                  <a:pt x="550" y="1109"/>
                </a:cubicBezTo>
                <a:cubicBezTo>
                  <a:pt x="546" y="1131"/>
                  <a:pt x="548" y="1151"/>
                  <a:pt x="553" y="1171"/>
                </a:cubicBezTo>
                <a:lnTo>
                  <a:pt x="148" y="1169"/>
                </a:lnTo>
                <a:cubicBezTo>
                  <a:pt x="111" y="1169"/>
                  <a:pt x="81" y="1139"/>
                  <a:pt x="81" y="1101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897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19AB7D-34EE-48F7-B892-50CB25A68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reløbig problemformulering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A6E01D-4540-4E92-BC61-70E2467674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439526" cy="4351338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da-DK" sz="3600" dirty="0"/>
              <a:t>Hvordan påvirkes 1.g elever af IBSE og SWH med særligt fokus på deres faglige motivation samt deres skriftlige kompetence?</a:t>
            </a:r>
          </a:p>
        </p:txBody>
      </p:sp>
      <p:sp>
        <p:nvSpPr>
          <p:cNvPr id="4" name="Time_Check">
            <a:extLst>
              <a:ext uri="{FF2B5EF4-FFF2-40B4-BE49-F238E27FC236}">
                <a16:creationId xmlns:a16="http://schemas.microsoft.com/office/drawing/2014/main" id="{F3583B5C-B93E-49AD-96B9-3AB902992B92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8775032" y="365124"/>
            <a:ext cx="3096126" cy="6096967"/>
          </a:xfrm>
          <a:custGeom>
            <a:avLst/>
            <a:gdLst>
              <a:gd name="T0" fmla="*/ 197 w 462"/>
              <a:gd name="T1" fmla="*/ 457 h 907"/>
              <a:gd name="T2" fmla="*/ 317 w 462"/>
              <a:gd name="T3" fmla="*/ 412 h 907"/>
              <a:gd name="T4" fmla="*/ 362 w 462"/>
              <a:gd name="T5" fmla="*/ 430 h 907"/>
              <a:gd name="T6" fmla="*/ 378 w 462"/>
              <a:gd name="T7" fmla="*/ 476 h 907"/>
              <a:gd name="T8" fmla="*/ 282 w 462"/>
              <a:gd name="T9" fmla="*/ 548 h 907"/>
              <a:gd name="T10" fmla="*/ 447 w 462"/>
              <a:gd name="T11" fmla="*/ 462 h 907"/>
              <a:gd name="T12" fmla="*/ 439 w 462"/>
              <a:gd name="T13" fmla="*/ 388 h 907"/>
              <a:gd name="T14" fmla="*/ 231 w 462"/>
              <a:gd name="T15" fmla="*/ 363 h 907"/>
              <a:gd name="T16" fmla="*/ 31 w 462"/>
              <a:gd name="T17" fmla="*/ 367 h 907"/>
              <a:gd name="T18" fmla="*/ 15 w 462"/>
              <a:gd name="T19" fmla="*/ 462 h 907"/>
              <a:gd name="T20" fmla="*/ 81 w 462"/>
              <a:gd name="T21" fmla="*/ 500 h 907"/>
              <a:gd name="T22" fmla="*/ 161 w 462"/>
              <a:gd name="T23" fmla="*/ 777 h 907"/>
              <a:gd name="T24" fmla="*/ 244 w 462"/>
              <a:gd name="T25" fmla="*/ 687 h 907"/>
              <a:gd name="T26" fmla="*/ 371 w 462"/>
              <a:gd name="T27" fmla="*/ 808 h 907"/>
              <a:gd name="T28" fmla="*/ 388 w 462"/>
              <a:gd name="T29" fmla="*/ 855 h 907"/>
              <a:gd name="T30" fmla="*/ 245 w 462"/>
              <a:gd name="T31" fmla="*/ 907 h 907"/>
              <a:gd name="T32" fmla="*/ 83 w 462"/>
              <a:gd name="T33" fmla="*/ 871 h 907"/>
              <a:gd name="T34" fmla="*/ 18 w 462"/>
              <a:gd name="T35" fmla="*/ 663 h 907"/>
              <a:gd name="T36" fmla="*/ 15 w 462"/>
              <a:gd name="T37" fmla="*/ 366 h 907"/>
              <a:gd name="T38" fmla="*/ 47 w 462"/>
              <a:gd name="T39" fmla="*/ 180 h 907"/>
              <a:gd name="T40" fmla="*/ 368 w 462"/>
              <a:gd name="T41" fmla="*/ 63 h 907"/>
              <a:gd name="T42" fmla="*/ 447 w 462"/>
              <a:gd name="T43" fmla="*/ 206 h 907"/>
              <a:gd name="T44" fmla="*/ 462 w 462"/>
              <a:gd name="T45" fmla="*/ 567 h 907"/>
              <a:gd name="T46" fmla="*/ 315 w 462"/>
              <a:gd name="T47" fmla="*/ 605 h 907"/>
              <a:gd name="T48" fmla="*/ 158 w 462"/>
              <a:gd name="T49" fmla="*/ 605 h 907"/>
              <a:gd name="T50" fmla="*/ 245 w 462"/>
              <a:gd name="T51" fmla="*/ 852 h 907"/>
              <a:gd name="T52" fmla="*/ 245 w 462"/>
              <a:gd name="T53" fmla="*/ 852 h 907"/>
              <a:gd name="T54" fmla="*/ 374 w 462"/>
              <a:gd name="T55" fmla="*/ 870 h 907"/>
              <a:gd name="T56" fmla="*/ 100 w 462"/>
              <a:gd name="T57" fmla="*/ 852 h 907"/>
              <a:gd name="T58" fmla="*/ 164 w 462"/>
              <a:gd name="T59" fmla="*/ 793 h 907"/>
              <a:gd name="T60" fmla="*/ 228 w 462"/>
              <a:gd name="T61" fmla="*/ 890 h 907"/>
              <a:gd name="T62" fmla="*/ 99 w 462"/>
              <a:gd name="T63" fmla="*/ 890 h 907"/>
              <a:gd name="T64" fmla="*/ 83 w 462"/>
              <a:gd name="T65" fmla="*/ 666 h 907"/>
              <a:gd name="T66" fmla="*/ 47 w 462"/>
              <a:gd name="T67" fmla="*/ 196 h 907"/>
              <a:gd name="T68" fmla="*/ 32 w 462"/>
              <a:gd name="T69" fmla="*/ 336 h 907"/>
              <a:gd name="T70" fmla="*/ 200 w 462"/>
              <a:gd name="T71" fmla="*/ 325 h 907"/>
              <a:gd name="T72" fmla="*/ 294 w 462"/>
              <a:gd name="T73" fmla="*/ 248 h 907"/>
              <a:gd name="T74" fmla="*/ 305 w 462"/>
              <a:gd name="T75" fmla="*/ 180 h 907"/>
              <a:gd name="T76" fmla="*/ 280 w 462"/>
              <a:gd name="T77" fmla="*/ 106 h 907"/>
              <a:gd name="T78" fmla="*/ 173 w 462"/>
              <a:gd name="T79" fmla="*/ 82 h 907"/>
              <a:gd name="T80" fmla="*/ 70 w 462"/>
              <a:gd name="T81" fmla="*/ 137 h 907"/>
              <a:gd name="T82" fmla="*/ 65 w 462"/>
              <a:gd name="T83" fmla="*/ 186 h 907"/>
              <a:gd name="T84" fmla="*/ 97 w 462"/>
              <a:gd name="T85" fmla="*/ 275 h 907"/>
              <a:gd name="T86" fmla="*/ 399 w 462"/>
              <a:gd name="T87" fmla="*/ 191 h 907"/>
              <a:gd name="T88" fmla="*/ 355 w 462"/>
              <a:gd name="T89" fmla="*/ 73 h 907"/>
              <a:gd name="T90" fmla="*/ 88 w 462"/>
              <a:gd name="T91" fmla="*/ 101 h 907"/>
              <a:gd name="T92" fmla="*/ 289 w 462"/>
              <a:gd name="T93" fmla="*/ 100 h 907"/>
              <a:gd name="T94" fmla="*/ 315 w 462"/>
              <a:gd name="T95" fmla="*/ 167 h 907"/>
              <a:gd name="T96" fmla="*/ 317 w 462"/>
              <a:gd name="T97" fmla="*/ 197 h 907"/>
              <a:gd name="T98" fmla="*/ 203 w 462"/>
              <a:gd name="T99" fmla="*/ 335 h 907"/>
              <a:gd name="T100" fmla="*/ 225 w 462"/>
              <a:gd name="T101" fmla="*/ 347 h 907"/>
              <a:gd name="T102" fmla="*/ 399 w 462"/>
              <a:gd name="T103" fmla="*/ 196 h 907"/>
              <a:gd name="T104" fmla="*/ 415 w 462"/>
              <a:gd name="T105" fmla="*/ 196 h 907"/>
              <a:gd name="T106" fmla="*/ 430 w 462"/>
              <a:gd name="T107" fmla="*/ 205 h 907"/>
              <a:gd name="T108" fmla="*/ 165 w 462"/>
              <a:gd name="T109" fmla="*/ 420 h 907"/>
              <a:gd name="T110" fmla="*/ 310 w 462"/>
              <a:gd name="T111" fmla="*/ 567 h 907"/>
              <a:gd name="T112" fmla="*/ 200 w 462"/>
              <a:gd name="T113" fmla="*/ 567 h 907"/>
              <a:gd name="T114" fmla="*/ 197 w 462"/>
              <a:gd name="T115" fmla="*/ 521 h 907"/>
              <a:gd name="T116" fmla="*/ 244 w 462"/>
              <a:gd name="T117" fmla="*/ 491 h 907"/>
              <a:gd name="T118" fmla="*/ 269 w 462"/>
              <a:gd name="T119" fmla="*/ 485 h 907"/>
              <a:gd name="T120" fmla="*/ 270 w 462"/>
              <a:gd name="T121" fmla="*/ 477 h 907"/>
              <a:gd name="T122" fmla="*/ 218 w 462"/>
              <a:gd name="T123" fmla="*/ 548 h 907"/>
              <a:gd name="T124" fmla="*/ 218 w 462"/>
              <a:gd name="T125" fmla="*/ 54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62" h="907">
                <a:moveTo>
                  <a:pt x="277" y="451"/>
                </a:moveTo>
                <a:lnTo>
                  <a:pt x="277" y="457"/>
                </a:lnTo>
                <a:lnTo>
                  <a:pt x="197" y="457"/>
                </a:lnTo>
                <a:lnTo>
                  <a:pt x="197" y="451"/>
                </a:lnTo>
                <a:lnTo>
                  <a:pt x="277" y="451"/>
                </a:lnTo>
                <a:close/>
                <a:moveTo>
                  <a:pt x="317" y="412"/>
                </a:moveTo>
                <a:lnTo>
                  <a:pt x="317" y="467"/>
                </a:lnTo>
                <a:lnTo>
                  <a:pt x="362" y="467"/>
                </a:lnTo>
                <a:lnTo>
                  <a:pt x="362" y="430"/>
                </a:lnTo>
                <a:lnTo>
                  <a:pt x="378" y="430"/>
                </a:lnTo>
                <a:lnTo>
                  <a:pt x="378" y="467"/>
                </a:lnTo>
                <a:lnTo>
                  <a:pt x="378" y="476"/>
                </a:lnTo>
                <a:lnTo>
                  <a:pt x="378" y="483"/>
                </a:lnTo>
                <a:lnTo>
                  <a:pt x="282" y="483"/>
                </a:lnTo>
                <a:lnTo>
                  <a:pt x="282" y="548"/>
                </a:lnTo>
                <a:lnTo>
                  <a:pt x="380" y="548"/>
                </a:lnTo>
                <a:lnTo>
                  <a:pt x="447" y="547"/>
                </a:lnTo>
                <a:lnTo>
                  <a:pt x="447" y="462"/>
                </a:lnTo>
                <a:lnTo>
                  <a:pt x="447" y="451"/>
                </a:lnTo>
                <a:lnTo>
                  <a:pt x="447" y="435"/>
                </a:lnTo>
                <a:cubicBezTo>
                  <a:pt x="447" y="418"/>
                  <a:pt x="444" y="403"/>
                  <a:pt x="439" y="388"/>
                </a:cubicBezTo>
                <a:cubicBezTo>
                  <a:pt x="436" y="381"/>
                  <a:pt x="434" y="373"/>
                  <a:pt x="430" y="367"/>
                </a:cubicBezTo>
                <a:cubicBezTo>
                  <a:pt x="418" y="341"/>
                  <a:pt x="398" y="318"/>
                  <a:pt x="373" y="300"/>
                </a:cubicBezTo>
                <a:cubicBezTo>
                  <a:pt x="339" y="338"/>
                  <a:pt x="288" y="363"/>
                  <a:pt x="231" y="363"/>
                </a:cubicBezTo>
                <a:lnTo>
                  <a:pt x="223" y="363"/>
                </a:lnTo>
                <a:cubicBezTo>
                  <a:pt x="169" y="361"/>
                  <a:pt x="121" y="337"/>
                  <a:pt x="90" y="300"/>
                </a:cubicBezTo>
                <a:cubicBezTo>
                  <a:pt x="65" y="318"/>
                  <a:pt x="45" y="341"/>
                  <a:pt x="31" y="367"/>
                </a:cubicBezTo>
                <a:cubicBezTo>
                  <a:pt x="28" y="375"/>
                  <a:pt x="25" y="381"/>
                  <a:pt x="23" y="388"/>
                </a:cubicBezTo>
                <a:cubicBezTo>
                  <a:pt x="18" y="403"/>
                  <a:pt x="15" y="418"/>
                  <a:pt x="15" y="435"/>
                </a:cubicBezTo>
                <a:lnTo>
                  <a:pt x="15" y="462"/>
                </a:lnTo>
                <a:lnTo>
                  <a:pt x="15" y="646"/>
                </a:lnTo>
                <a:lnTo>
                  <a:pt x="81" y="646"/>
                </a:lnTo>
                <a:lnTo>
                  <a:pt x="81" y="500"/>
                </a:lnTo>
                <a:lnTo>
                  <a:pt x="98" y="500"/>
                </a:lnTo>
                <a:lnTo>
                  <a:pt x="98" y="810"/>
                </a:lnTo>
                <a:cubicBezTo>
                  <a:pt x="113" y="790"/>
                  <a:pt x="135" y="777"/>
                  <a:pt x="161" y="777"/>
                </a:cubicBezTo>
                <a:cubicBezTo>
                  <a:pt x="186" y="777"/>
                  <a:pt x="210" y="790"/>
                  <a:pt x="225" y="808"/>
                </a:cubicBezTo>
                <a:lnTo>
                  <a:pt x="225" y="687"/>
                </a:lnTo>
                <a:lnTo>
                  <a:pt x="244" y="687"/>
                </a:lnTo>
                <a:lnTo>
                  <a:pt x="244" y="808"/>
                </a:lnTo>
                <a:cubicBezTo>
                  <a:pt x="259" y="788"/>
                  <a:pt x="281" y="776"/>
                  <a:pt x="308" y="776"/>
                </a:cubicBezTo>
                <a:cubicBezTo>
                  <a:pt x="334" y="776"/>
                  <a:pt x="356" y="788"/>
                  <a:pt x="371" y="808"/>
                </a:cubicBezTo>
                <a:lnTo>
                  <a:pt x="371" y="553"/>
                </a:lnTo>
                <a:lnTo>
                  <a:pt x="388" y="553"/>
                </a:lnTo>
                <a:lnTo>
                  <a:pt x="388" y="855"/>
                </a:lnTo>
                <a:lnTo>
                  <a:pt x="388" y="857"/>
                </a:lnTo>
                <a:lnTo>
                  <a:pt x="388" y="907"/>
                </a:lnTo>
                <a:lnTo>
                  <a:pt x="245" y="907"/>
                </a:lnTo>
                <a:lnTo>
                  <a:pt x="229" y="907"/>
                </a:lnTo>
                <a:lnTo>
                  <a:pt x="83" y="907"/>
                </a:lnTo>
                <a:lnTo>
                  <a:pt x="83" y="871"/>
                </a:lnTo>
                <a:lnTo>
                  <a:pt x="83" y="871"/>
                </a:lnTo>
                <a:lnTo>
                  <a:pt x="83" y="730"/>
                </a:lnTo>
                <a:cubicBezTo>
                  <a:pt x="48" y="726"/>
                  <a:pt x="22" y="698"/>
                  <a:pt x="18" y="663"/>
                </a:cubicBezTo>
                <a:lnTo>
                  <a:pt x="0" y="663"/>
                </a:lnTo>
                <a:lnTo>
                  <a:pt x="0" y="436"/>
                </a:lnTo>
                <a:cubicBezTo>
                  <a:pt x="0" y="411"/>
                  <a:pt x="5" y="387"/>
                  <a:pt x="15" y="366"/>
                </a:cubicBezTo>
                <a:lnTo>
                  <a:pt x="15" y="205"/>
                </a:lnTo>
                <a:cubicBezTo>
                  <a:pt x="15" y="191"/>
                  <a:pt x="27" y="180"/>
                  <a:pt x="40" y="180"/>
                </a:cubicBezTo>
                <a:lnTo>
                  <a:pt x="47" y="180"/>
                </a:lnTo>
                <a:lnTo>
                  <a:pt x="47" y="177"/>
                </a:lnTo>
                <a:cubicBezTo>
                  <a:pt x="50" y="77"/>
                  <a:pt x="137" y="0"/>
                  <a:pt x="239" y="5"/>
                </a:cubicBezTo>
                <a:cubicBezTo>
                  <a:pt x="289" y="7"/>
                  <a:pt x="334" y="27"/>
                  <a:pt x="368" y="63"/>
                </a:cubicBezTo>
                <a:cubicBezTo>
                  <a:pt x="398" y="96"/>
                  <a:pt x="415" y="137"/>
                  <a:pt x="417" y="181"/>
                </a:cubicBezTo>
                <a:lnTo>
                  <a:pt x="422" y="181"/>
                </a:lnTo>
                <a:cubicBezTo>
                  <a:pt x="435" y="181"/>
                  <a:pt x="447" y="192"/>
                  <a:pt x="447" y="206"/>
                </a:cubicBezTo>
                <a:lnTo>
                  <a:pt x="447" y="356"/>
                </a:lnTo>
                <a:cubicBezTo>
                  <a:pt x="457" y="377"/>
                  <a:pt x="462" y="401"/>
                  <a:pt x="462" y="426"/>
                </a:cubicBezTo>
                <a:lnTo>
                  <a:pt x="462" y="567"/>
                </a:lnTo>
                <a:lnTo>
                  <a:pt x="379" y="567"/>
                </a:lnTo>
                <a:lnTo>
                  <a:pt x="315" y="567"/>
                </a:lnTo>
                <a:lnTo>
                  <a:pt x="315" y="605"/>
                </a:lnTo>
                <a:lnTo>
                  <a:pt x="315" y="605"/>
                </a:lnTo>
                <a:lnTo>
                  <a:pt x="309" y="605"/>
                </a:lnTo>
                <a:lnTo>
                  <a:pt x="158" y="605"/>
                </a:lnTo>
                <a:lnTo>
                  <a:pt x="158" y="412"/>
                </a:lnTo>
                <a:lnTo>
                  <a:pt x="317" y="412"/>
                </a:lnTo>
                <a:close/>
                <a:moveTo>
                  <a:pt x="245" y="852"/>
                </a:moveTo>
                <a:lnTo>
                  <a:pt x="373" y="852"/>
                </a:lnTo>
                <a:cubicBezTo>
                  <a:pt x="369" y="820"/>
                  <a:pt x="342" y="793"/>
                  <a:pt x="309" y="793"/>
                </a:cubicBezTo>
                <a:cubicBezTo>
                  <a:pt x="277" y="793"/>
                  <a:pt x="249" y="818"/>
                  <a:pt x="245" y="852"/>
                </a:cubicBezTo>
                <a:close/>
                <a:moveTo>
                  <a:pt x="245" y="890"/>
                </a:moveTo>
                <a:lnTo>
                  <a:pt x="374" y="890"/>
                </a:lnTo>
                <a:lnTo>
                  <a:pt x="374" y="870"/>
                </a:lnTo>
                <a:lnTo>
                  <a:pt x="245" y="870"/>
                </a:lnTo>
                <a:lnTo>
                  <a:pt x="245" y="890"/>
                </a:lnTo>
                <a:close/>
                <a:moveTo>
                  <a:pt x="100" y="852"/>
                </a:moveTo>
                <a:lnTo>
                  <a:pt x="228" y="852"/>
                </a:lnTo>
                <a:lnTo>
                  <a:pt x="228" y="849"/>
                </a:lnTo>
                <a:cubicBezTo>
                  <a:pt x="223" y="818"/>
                  <a:pt x="197" y="793"/>
                  <a:pt x="164" y="793"/>
                </a:cubicBezTo>
                <a:cubicBezTo>
                  <a:pt x="132" y="793"/>
                  <a:pt x="104" y="818"/>
                  <a:pt x="100" y="852"/>
                </a:cubicBezTo>
                <a:close/>
                <a:moveTo>
                  <a:pt x="99" y="890"/>
                </a:moveTo>
                <a:lnTo>
                  <a:pt x="228" y="890"/>
                </a:lnTo>
                <a:lnTo>
                  <a:pt x="228" y="870"/>
                </a:lnTo>
                <a:lnTo>
                  <a:pt x="99" y="870"/>
                </a:lnTo>
                <a:lnTo>
                  <a:pt x="99" y="890"/>
                </a:lnTo>
                <a:close/>
                <a:moveTo>
                  <a:pt x="34" y="666"/>
                </a:moveTo>
                <a:cubicBezTo>
                  <a:pt x="39" y="691"/>
                  <a:pt x="58" y="710"/>
                  <a:pt x="83" y="713"/>
                </a:cubicBezTo>
                <a:lnTo>
                  <a:pt x="83" y="666"/>
                </a:lnTo>
                <a:lnTo>
                  <a:pt x="34" y="666"/>
                </a:lnTo>
                <a:close/>
                <a:moveTo>
                  <a:pt x="80" y="287"/>
                </a:moveTo>
                <a:cubicBezTo>
                  <a:pt x="62" y="261"/>
                  <a:pt x="49" y="230"/>
                  <a:pt x="47" y="196"/>
                </a:cubicBezTo>
                <a:lnTo>
                  <a:pt x="40" y="196"/>
                </a:lnTo>
                <a:cubicBezTo>
                  <a:pt x="35" y="196"/>
                  <a:pt x="32" y="200"/>
                  <a:pt x="32" y="205"/>
                </a:cubicBezTo>
                <a:lnTo>
                  <a:pt x="32" y="336"/>
                </a:lnTo>
                <a:cubicBezTo>
                  <a:pt x="45" y="317"/>
                  <a:pt x="62" y="301"/>
                  <a:pt x="80" y="287"/>
                </a:cubicBezTo>
                <a:close/>
                <a:moveTo>
                  <a:pt x="109" y="288"/>
                </a:moveTo>
                <a:cubicBezTo>
                  <a:pt x="134" y="313"/>
                  <a:pt x="167" y="328"/>
                  <a:pt x="200" y="325"/>
                </a:cubicBezTo>
                <a:lnTo>
                  <a:pt x="200" y="325"/>
                </a:lnTo>
                <a:cubicBezTo>
                  <a:pt x="238" y="321"/>
                  <a:pt x="268" y="297"/>
                  <a:pt x="287" y="263"/>
                </a:cubicBezTo>
                <a:lnTo>
                  <a:pt x="294" y="248"/>
                </a:lnTo>
                <a:cubicBezTo>
                  <a:pt x="300" y="232"/>
                  <a:pt x="304" y="216"/>
                  <a:pt x="305" y="197"/>
                </a:cubicBezTo>
                <a:lnTo>
                  <a:pt x="305" y="188"/>
                </a:lnTo>
                <a:lnTo>
                  <a:pt x="305" y="180"/>
                </a:lnTo>
                <a:cubicBezTo>
                  <a:pt x="305" y="176"/>
                  <a:pt x="305" y="172"/>
                  <a:pt x="304" y="168"/>
                </a:cubicBezTo>
                <a:cubicBezTo>
                  <a:pt x="300" y="133"/>
                  <a:pt x="289" y="116"/>
                  <a:pt x="283" y="108"/>
                </a:cubicBezTo>
                <a:lnTo>
                  <a:pt x="280" y="106"/>
                </a:lnTo>
                <a:lnTo>
                  <a:pt x="282" y="105"/>
                </a:lnTo>
                <a:cubicBezTo>
                  <a:pt x="274" y="97"/>
                  <a:pt x="243" y="75"/>
                  <a:pt x="175" y="82"/>
                </a:cubicBezTo>
                <a:lnTo>
                  <a:pt x="173" y="82"/>
                </a:lnTo>
                <a:cubicBezTo>
                  <a:pt x="159" y="83"/>
                  <a:pt x="89" y="93"/>
                  <a:pt x="74" y="130"/>
                </a:cubicBezTo>
                <a:lnTo>
                  <a:pt x="74" y="130"/>
                </a:lnTo>
                <a:lnTo>
                  <a:pt x="70" y="137"/>
                </a:lnTo>
                <a:cubicBezTo>
                  <a:pt x="69" y="143"/>
                  <a:pt x="67" y="150"/>
                  <a:pt x="67" y="157"/>
                </a:cubicBezTo>
                <a:cubicBezTo>
                  <a:pt x="65" y="163"/>
                  <a:pt x="65" y="170"/>
                  <a:pt x="65" y="177"/>
                </a:cubicBezTo>
                <a:lnTo>
                  <a:pt x="65" y="186"/>
                </a:lnTo>
                <a:lnTo>
                  <a:pt x="65" y="192"/>
                </a:lnTo>
                <a:lnTo>
                  <a:pt x="65" y="195"/>
                </a:lnTo>
                <a:cubicBezTo>
                  <a:pt x="69" y="225"/>
                  <a:pt x="80" y="252"/>
                  <a:pt x="97" y="275"/>
                </a:cubicBezTo>
                <a:cubicBezTo>
                  <a:pt x="102" y="280"/>
                  <a:pt x="105" y="285"/>
                  <a:pt x="109" y="288"/>
                </a:cubicBezTo>
                <a:close/>
                <a:moveTo>
                  <a:pt x="399" y="196"/>
                </a:moveTo>
                <a:lnTo>
                  <a:pt x="399" y="191"/>
                </a:lnTo>
                <a:lnTo>
                  <a:pt x="399" y="187"/>
                </a:lnTo>
                <a:lnTo>
                  <a:pt x="399" y="178"/>
                </a:lnTo>
                <a:cubicBezTo>
                  <a:pt x="398" y="140"/>
                  <a:pt x="383" y="102"/>
                  <a:pt x="355" y="73"/>
                </a:cubicBezTo>
                <a:cubicBezTo>
                  <a:pt x="325" y="41"/>
                  <a:pt x="284" y="22"/>
                  <a:pt x="239" y="21"/>
                </a:cubicBezTo>
                <a:lnTo>
                  <a:pt x="231" y="21"/>
                </a:lnTo>
                <a:cubicBezTo>
                  <a:pt x="170" y="21"/>
                  <a:pt x="116" y="52"/>
                  <a:pt x="88" y="101"/>
                </a:cubicBezTo>
                <a:cubicBezTo>
                  <a:pt x="115" y="82"/>
                  <a:pt x="156" y="76"/>
                  <a:pt x="171" y="75"/>
                </a:cubicBezTo>
                <a:lnTo>
                  <a:pt x="174" y="75"/>
                </a:lnTo>
                <a:cubicBezTo>
                  <a:pt x="244" y="67"/>
                  <a:pt x="278" y="90"/>
                  <a:pt x="289" y="100"/>
                </a:cubicBezTo>
                <a:lnTo>
                  <a:pt x="290" y="100"/>
                </a:lnTo>
                <a:lnTo>
                  <a:pt x="293" y="102"/>
                </a:lnTo>
                <a:cubicBezTo>
                  <a:pt x="302" y="112"/>
                  <a:pt x="312" y="131"/>
                  <a:pt x="315" y="167"/>
                </a:cubicBezTo>
                <a:cubicBezTo>
                  <a:pt x="315" y="171"/>
                  <a:pt x="317" y="176"/>
                  <a:pt x="317" y="180"/>
                </a:cubicBezTo>
                <a:lnTo>
                  <a:pt x="317" y="188"/>
                </a:lnTo>
                <a:lnTo>
                  <a:pt x="317" y="197"/>
                </a:lnTo>
                <a:cubicBezTo>
                  <a:pt x="315" y="216"/>
                  <a:pt x="312" y="235"/>
                  <a:pt x="305" y="251"/>
                </a:cubicBezTo>
                <a:lnTo>
                  <a:pt x="298" y="266"/>
                </a:lnTo>
                <a:cubicBezTo>
                  <a:pt x="278" y="305"/>
                  <a:pt x="244" y="331"/>
                  <a:pt x="203" y="335"/>
                </a:cubicBezTo>
                <a:lnTo>
                  <a:pt x="203" y="335"/>
                </a:lnTo>
                <a:cubicBezTo>
                  <a:pt x="188" y="336"/>
                  <a:pt x="173" y="335"/>
                  <a:pt x="158" y="330"/>
                </a:cubicBezTo>
                <a:cubicBezTo>
                  <a:pt x="178" y="339"/>
                  <a:pt x="201" y="346"/>
                  <a:pt x="225" y="347"/>
                </a:cubicBezTo>
                <a:cubicBezTo>
                  <a:pt x="279" y="350"/>
                  <a:pt x="326" y="327"/>
                  <a:pt x="359" y="291"/>
                </a:cubicBezTo>
                <a:cubicBezTo>
                  <a:pt x="363" y="287"/>
                  <a:pt x="366" y="282"/>
                  <a:pt x="369" y="277"/>
                </a:cubicBezTo>
                <a:cubicBezTo>
                  <a:pt x="387" y="255"/>
                  <a:pt x="397" y="226"/>
                  <a:pt x="399" y="196"/>
                </a:cubicBezTo>
                <a:close/>
                <a:moveTo>
                  <a:pt x="430" y="205"/>
                </a:moveTo>
                <a:cubicBezTo>
                  <a:pt x="430" y="200"/>
                  <a:pt x="427" y="196"/>
                  <a:pt x="422" y="196"/>
                </a:cubicBezTo>
                <a:lnTo>
                  <a:pt x="415" y="196"/>
                </a:lnTo>
                <a:cubicBezTo>
                  <a:pt x="413" y="230"/>
                  <a:pt x="401" y="261"/>
                  <a:pt x="383" y="287"/>
                </a:cubicBezTo>
                <a:cubicBezTo>
                  <a:pt x="401" y="301"/>
                  <a:pt x="418" y="317"/>
                  <a:pt x="430" y="335"/>
                </a:cubicBezTo>
                <a:lnTo>
                  <a:pt x="430" y="205"/>
                </a:lnTo>
                <a:close/>
                <a:moveTo>
                  <a:pt x="310" y="467"/>
                </a:moveTo>
                <a:lnTo>
                  <a:pt x="310" y="420"/>
                </a:lnTo>
                <a:lnTo>
                  <a:pt x="165" y="420"/>
                </a:lnTo>
                <a:lnTo>
                  <a:pt x="165" y="600"/>
                </a:lnTo>
                <a:lnTo>
                  <a:pt x="310" y="600"/>
                </a:lnTo>
                <a:lnTo>
                  <a:pt x="310" y="567"/>
                </a:lnTo>
                <a:lnTo>
                  <a:pt x="284" y="567"/>
                </a:lnTo>
                <a:lnTo>
                  <a:pt x="282" y="567"/>
                </a:lnTo>
                <a:lnTo>
                  <a:pt x="200" y="567"/>
                </a:lnTo>
                <a:lnTo>
                  <a:pt x="200" y="558"/>
                </a:lnTo>
                <a:cubicBezTo>
                  <a:pt x="200" y="545"/>
                  <a:pt x="204" y="532"/>
                  <a:pt x="210" y="521"/>
                </a:cubicBezTo>
                <a:lnTo>
                  <a:pt x="197" y="521"/>
                </a:lnTo>
                <a:lnTo>
                  <a:pt x="197" y="515"/>
                </a:lnTo>
                <a:lnTo>
                  <a:pt x="214" y="515"/>
                </a:lnTo>
                <a:cubicBezTo>
                  <a:pt x="222" y="505"/>
                  <a:pt x="231" y="496"/>
                  <a:pt x="244" y="491"/>
                </a:cubicBezTo>
                <a:lnTo>
                  <a:pt x="197" y="491"/>
                </a:lnTo>
                <a:lnTo>
                  <a:pt x="197" y="485"/>
                </a:lnTo>
                <a:lnTo>
                  <a:pt x="269" y="485"/>
                </a:lnTo>
                <a:lnTo>
                  <a:pt x="269" y="485"/>
                </a:lnTo>
                <a:lnTo>
                  <a:pt x="270" y="485"/>
                </a:lnTo>
                <a:lnTo>
                  <a:pt x="270" y="477"/>
                </a:lnTo>
                <a:lnTo>
                  <a:pt x="270" y="467"/>
                </a:lnTo>
                <a:lnTo>
                  <a:pt x="310" y="467"/>
                </a:lnTo>
                <a:close/>
                <a:moveTo>
                  <a:pt x="218" y="548"/>
                </a:moveTo>
                <a:lnTo>
                  <a:pt x="265" y="548"/>
                </a:lnTo>
                <a:lnTo>
                  <a:pt x="265" y="500"/>
                </a:lnTo>
                <a:cubicBezTo>
                  <a:pt x="240" y="505"/>
                  <a:pt x="222" y="525"/>
                  <a:pt x="218" y="54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543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42419-1086-4974-B211-7CC415E15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cience Writing Heuristi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2B803B-DE45-4979-A35D-A54875307AB3}"/>
              </a:ext>
            </a:extLst>
          </p:cNvPr>
          <p:cNvSpPr>
            <a:spLocks noGrp="1"/>
          </p:cNvSpPr>
          <p:nvPr>
            <p:ph idx="1"/>
          </p:nvPr>
        </p:nvSpPr>
        <p:spPr>
          <a:ln>
            <a:noFill/>
          </a:ln>
        </p:spPr>
        <p:txBody>
          <a:bodyPr anchor="ctr"/>
          <a:lstStyle/>
          <a:p>
            <a:pPr marL="0" indent="0">
              <a:buNone/>
            </a:pPr>
            <a:r>
              <a:rPr lang="da-DK" dirty="0"/>
              <a:t>Et af de bud der kan findes i litteraturen på hvordan man kan opkvalificere det praktiske arbejde således at eleverne opnår et højere udbytte, af det praktiske arbejde, her foreslår bl.a. (   </a:t>
            </a:r>
            <a:r>
              <a:rPr lang="da-DK" dirty="0">
                <a:solidFill>
                  <a:schemeClr val="accent1"/>
                </a:solidFill>
              </a:rPr>
              <a:t>Krogh og Andersen, 2016;    Keys, Hand, Prain og Collins, 1999</a:t>
            </a:r>
            <a:r>
              <a:rPr lang="da-DK" dirty="0"/>
              <a:t>) Science writing heuristic.  Som en model til at</a:t>
            </a:r>
            <a:r>
              <a:rPr lang="da-DK" i="1" dirty="0"/>
              <a:t> </a:t>
            </a:r>
            <a:r>
              <a:rPr lang="da-DK" b="1" i="1" dirty="0"/>
              <a:t>skrivning for at lære.</a:t>
            </a:r>
            <a:endParaRPr lang="da-DK" b="1" dirty="0"/>
          </a:p>
        </p:txBody>
      </p:sp>
      <p:sp>
        <p:nvSpPr>
          <p:cNvPr id="4" name="Rocket3">
            <a:extLst>
              <a:ext uri="{FF2B5EF4-FFF2-40B4-BE49-F238E27FC236}">
                <a16:creationId xmlns:a16="http://schemas.microsoft.com/office/drawing/2014/main" id="{D8F4AA60-E080-4ED1-AD98-C375E0BDC221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9024079" y="365125"/>
            <a:ext cx="2329721" cy="2339092"/>
          </a:xfrm>
          <a:custGeom>
            <a:avLst/>
            <a:gdLst>
              <a:gd name="T0" fmla="*/ 143 w 161"/>
              <a:gd name="T1" fmla="*/ 0 h 161"/>
              <a:gd name="T2" fmla="*/ 56 w 161"/>
              <a:gd name="T3" fmla="*/ 50 h 161"/>
              <a:gd name="T4" fmla="*/ 36 w 161"/>
              <a:gd name="T5" fmla="*/ 50 h 161"/>
              <a:gd name="T6" fmla="*/ 8 w 161"/>
              <a:gd name="T7" fmla="*/ 72 h 161"/>
              <a:gd name="T8" fmla="*/ 0 w 161"/>
              <a:gd name="T9" fmla="*/ 87 h 161"/>
              <a:gd name="T10" fmla="*/ 18 w 161"/>
              <a:gd name="T11" fmla="*/ 87 h 161"/>
              <a:gd name="T12" fmla="*/ 36 w 161"/>
              <a:gd name="T13" fmla="*/ 87 h 161"/>
              <a:gd name="T14" fmla="*/ 55 w 161"/>
              <a:gd name="T15" fmla="*/ 106 h 161"/>
              <a:gd name="T16" fmla="*/ 74 w 161"/>
              <a:gd name="T17" fmla="*/ 125 h 161"/>
              <a:gd name="T18" fmla="*/ 74 w 161"/>
              <a:gd name="T19" fmla="*/ 143 h 161"/>
              <a:gd name="T20" fmla="*/ 74 w 161"/>
              <a:gd name="T21" fmla="*/ 161 h 161"/>
              <a:gd name="T22" fmla="*/ 89 w 161"/>
              <a:gd name="T23" fmla="*/ 153 h 161"/>
              <a:gd name="T24" fmla="*/ 111 w 161"/>
              <a:gd name="T25" fmla="*/ 125 h 161"/>
              <a:gd name="T26" fmla="*/ 111 w 161"/>
              <a:gd name="T27" fmla="*/ 104 h 161"/>
              <a:gd name="T28" fmla="*/ 161 w 161"/>
              <a:gd name="T29" fmla="*/ 18 h 161"/>
              <a:gd name="T30" fmla="*/ 161 w 161"/>
              <a:gd name="T31" fmla="*/ 0 h 161"/>
              <a:gd name="T32" fmla="*/ 143 w 161"/>
              <a:gd name="T33" fmla="*/ 0 h 161"/>
              <a:gd name="T34" fmla="*/ 111 w 161"/>
              <a:gd name="T35" fmla="*/ 37 h 161"/>
              <a:gd name="T36" fmla="*/ 124 w 161"/>
              <a:gd name="T37" fmla="*/ 50 h 161"/>
              <a:gd name="T38" fmla="*/ 124 w 161"/>
              <a:gd name="T39" fmla="*/ 50 h 161"/>
              <a:gd name="T40" fmla="*/ 111 w 161"/>
              <a:gd name="T41" fmla="*/ 62 h 161"/>
              <a:gd name="T42" fmla="*/ 111 w 161"/>
              <a:gd name="T43" fmla="*/ 62 h 161"/>
              <a:gd name="T44" fmla="*/ 99 w 161"/>
              <a:gd name="T45" fmla="*/ 50 h 161"/>
              <a:gd name="T46" fmla="*/ 99 w 161"/>
              <a:gd name="T47" fmla="*/ 50 h 161"/>
              <a:gd name="T48" fmla="*/ 111 w 161"/>
              <a:gd name="T49" fmla="*/ 37 h 161"/>
              <a:gd name="T50" fmla="*/ 30 w 161"/>
              <a:gd name="T51" fmla="*/ 112 h 161"/>
              <a:gd name="T52" fmla="*/ 24 w 161"/>
              <a:gd name="T53" fmla="*/ 118 h 161"/>
              <a:gd name="T54" fmla="*/ 11 w 161"/>
              <a:gd name="T55" fmla="*/ 150 h 161"/>
              <a:gd name="T56" fmla="*/ 42 w 161"/>
              <a:gd name="T57" fmla="*/ 137 h 161"/>
              <a:gd name="T58" fmla="*/ 49 w 161"/>
              <a:gd name="T59" fmla="*/ 131 h 161"/>
              <a:gd name="T60" fmla="*/ 30 w 161"/>
              <a:gd name="T61" fmla="*/ 112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61" h="161">
                <a:moveTo>
                  <a:pt x="143" y="0"/>
                </a:moveTo>
                <a:cubicBezTo>
                  <a:pt x="116" y="0"/>
                  <a:pt x="80" y="18"/>
                  <a:pt x="56" y="50"/>
                </a:cubicBezTo>
                <a:lnTo>
                  <a:pt x="36" y="50"/>
                </a:lnTo>
                <a:cubicBezTo>
                  <a:pt x="22" y="50"/>
                  <a:pt x="13" y="60"/>
                  <a:pt x="8" y="72"/>
                </a:cubicBezTo>
                <a:lnTo>
                  <a:pt x="0" y="87"/>
                </a:lnTo>
                <a:lnTo>
                  <a:pt x="18" y="87"/>
                </a:lnTo>
                <a:lnTo>
                  <a:pt x="36" y="87"/>
                </a:lnTo>
                <a:lnTo>
                  <a:pt x="55" y="106"/>
                </a:lnTo>
                <a:lnTo>
                  <a:pt x="74" y="125"/>
                </a:lnTo>
                <a:lnTo>
                  <a:pt x="74" y="143"/>
                </a:lnTo>
                <a:lnTo>
                  <a:pt x="74" y="161"/>
                </a:lnTo>
                <a:lnTo>
                  <a:pt x="89" y="153"/>
                </a:lnTo>
                <a:cubicBezTo>
                  <a:pt x="100" y="147"/>
                  <a:pt x="111" y="139"/>
                  <a:pt x="111" y="125"/>
                </a:cubicBezTo>
                <a:lnTo>
                  <a:pt x="111" y="104"/>
                </a:lnTo>
                <a:cubicBezTo>
                  <a:pt x="143" y="80"/>
                  <a:pt x="161" y="44"/>
                  <a:pt x="161" y="18"/>
                </a:cubicBezTo>
                <a:lnTo>
                  <a:pt x="161" y="0"/>
                </a:lnTo>
                <a:lnTo>
                  <a:pt x="143" y="0"/>
                </a:lnTo>
                <a:close/>
                <a:moveTo>
                  <a:pt x="111" y="37"/>
                </a:moveTo>
                <a:cubicBezTo>
                  <a:pt x="118" y="37"/>
                  <a:pt x="124" y="43"/>
                  <a:pt x="124" y="50"/>
                </a:cubicBezTo>
                <a:lnTo>
                  <a:pt x="124" y="50"/>
                </a:lnTo>
                <a:cubicBezTo>
                  <a:pt x="124" y="56"/>
                  <a:pt x="118" y="62"/>
                  <a:pt x="111" y="62"/>
                </a:cubicBezTo>
                <a:lnTo>
                  <a:pt x="111" y="62"/>
                </a:lnTo>
                <a:cubicBezTo>
                  <a:pt x="104" y="62"/>
                  <a:pt x="99" y="56"/>
                  <a:pt x="99" y="50"/>
                </a:cubicBezTo>
                <a:lnTo>
                  <a:pt x="99" y="50"/>
                </a:lnTo>
                <a:cubicBezTo>
                  <a:pt x="99" y="43"/>
                  <a:pt x="104" y="37"/>
                  <a:pt x="111" y="37"/>
                </a:cubicBezTo>
                <a:close/>
                <a:moveTo>
                  <a:pt x="30" y="112"/>
                </a:moveTo>
                <a:lnTo>
                  <a:pt x="24" y="118"/>
                </a:lnTo>
                <a:cubicBezTo>
                  <a:pt x="14" y="127"/>
                  <a:pt x="11" y="150"/>
                  <a:pt x="11" y="150"/>
                </a:cubicBezTo>
                <a:cubicBezTo>
                  <a:pt x="11" y="150"/>
                  <a:pt x="32" y="147"/>
                  <a:pt x="42" y="137"/>
                </a:cubicBezTo>
                <a:lnTo>
                  <a:pt x="49" y="131"/>
                </a:lnTo>
                <a:lnTo>
                  <a:pt x="30" y="112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Book3">
            <a:extLst>
              <a:ext uri="{FF2B5EF4-FFF2-40B4-BE49-F238E27FC236}">
                <a16:creationId xmlns:a16="http://schemas.microsoft.com/office/drawing/2014/main" id="{E29B309D-361B-45B0-8696-8A56E674B17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380270" y="3819801"/>
            <a:ext cx="202257" cy="362986"/>
          </a:xfrm>
          <a:custGeom>
            <a:avLst/>
            <a:gdLst>
              <a:gd name="T0" fmla="*/ 660 w 701"/>
              <a:gd name="T1" fmla="*/ 1171 h 1253"/>
              <a:gd name="T2" fmla="*/ 641 w 701"/>
              <a:gd name="T3" fmla="*/ 1171 h 1253"/>
              <a:gd name="T4" fmla="*/ 630 w 701"/>
              <a:gd name="T5" fmla="*/ 1123 h 1253"/>
              <a:gd name="T6" fmla="*/ 669 w 701"/>
              <a:gd name="T7" fmla="*/ 1060 h 1253"/>
              <a:gd name="T8" fmla="*/ 669 w 701"/>
              <a:gd name="T9" fmla="*/ 1060 h 1253"/>
              <a:gd name="T10" fmla="*/ 696 w 701"/>
              <a:gd name="T11" fmla="*/ 1022 h 1253"/>
              <a:gd name="T12" fmla="*/ 697 w 701"/>
              <a:gd name="T13" fmla="*/ 180 h 1253"/>
              <a:gd name="T14" fmla="*/ 656 w 701"/>
              <a:gd name="T15" fmla="*/ 139 h 1253"/>
              <a:gd name="T16" fmla="*/ 442 w 701"/>
              <a:gd name="T17" fmla="*/ 138 h 1253"/>
              <a:gd name="T18" fmla="*/ 442 w 701"/>
              <a:gd name="T19" fmla="*/ 44 h 1253"/>
              <a:gd name="T20" fmla="*/ 417 w 701"/>
              <a:gd name="T21" fmla="*/ 6 h 1253"/>
              <a:gd name="T22" fmla="*/ 373 w 701"/>
              <a:gd name="T23" fmla="*/ 15 h 1253"/>
              <a:gd name="T24" fmla="*/ 91 w 701"/>
              <a:gd name="T25" fmla="*/ 298 h 1253"/>
              <a:gd name="T26" fmla="*/ 2 w 701"/>
              <a:gd name="T27" fmla="*/ 512 h 1253"/>
              <a:gd name="T28" fmla="*/ 0 w 701"/>
              <a:gd name="T29" fmla="*/ 1101 h 1253"/>
              <a:gd name="T30" fmla="*/ 148 w 701"/>
              <a:gd name="T31" fmla="*/ 1251 h 1253"/>
              <a:gd name="T32" fmla="*/ 660 w 701"/>
              <a:gd name="T33" fmla="*/ 1253 h 1253"/>
              <a:gd name="T34" fmla="*/ 701 w 701"/>
              <a:gd name="T35" fmla="*/ 1212 h 1253"/>
              <a:gd name="T36" fmla="*/ 701 w 701"/>
              <a:gd name="T37" fmla="*/ 1212 h 1253"/>
              <a:gd name="T38" fmla="*/ 660 w 701"/>
              <a:gd name="T39" fmla="*/ 1171 h 1253"/>
              <a:gd name="T40" fmla="*/ 615 w 701"/>
              <a:gd name="T41" fmla="*/ 220 h 1253"/>
              <a:gd name="T42" fmla="*/ 615 w 701"/>
              <a:gd name="T43" fmla="*/ 981 h 1253"/>
              <a:gd name="T44" fmla="*/ 153 w 701"/>
              <a:gd name="T45" fmla="*/ 981 h 1253"/>
              <a:gd name="T46" fmla="*/ 442 w 701"/>
              <a:gd name="T47" fmla="*/ 736 h 1253"/>
              <a:gd name="T48" fmla="*/ 441 w 701"/>
              <a:gd name="T49" fmla="*/ 220 h 1253"/>
              <a:gd name="T50" fmla="*/ 615 w 701"/>
              <a:gd name="T51" fmla="*/ 220 h 1253"/>
              <a:gd name="T52" fmla="*/ 81 w 701"/>
              <a:gd name="T53" fmla="*/ 1101 h 1253"/>
              <a:gd name="T54" fmla="*/ 81 w 701"/>
              <a:gd name="T55" fmla="*/ 1063 h 1253"/>
              <a:gd name="T56" fmla="*/ 565 w 701"/>
              <a:gd name="T57" fmla="*/ 1063 h 1253"/>
              <a:gd name="T58" fmla="*/ 550 w 701"/>
              <a:gd name="T59" fmla="*/ 1109 h 1253"/>
              <a:gd name="T60" fmla="*/ 553 w 701"/>
              <a:gd name="T61" fmla="*/ 1171 h 1253"/>
              <a:gd name="T62" fmla="*/ 148 w 701"/>
              <a:gd name="T63" fmla="*/ 1169 h 1253"/>
              <a:gd name="T64" fmla="*/ 81 w 701"/>
              <a:gd name="T65" fmla="*/ 1101 h 1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01" h="1253">
                <a:moveTo>
                  <a:pt x="660" y="1171"/>
                </a:moveTo>
                <a:lnTo>
                  <a:pt x="641" y="1171"/>
                </a:lnTo>
                <a:cubicBezTo>
                  <a:pt x="630" y="1158"/>
                  <a:pt x="626" y="1143"/>
                  <a:pt x="630" y="1123"/>
                </a:cubicBezTo>
                <a:cubicBezTo>
                  <a:pt x="635" y="1091"/>
                  <a:pt x="658" y="1064"/>
                  <a:pt x="669" y="1060"/>
                </a:cubicBezTo>
                <a:lnTo>
                  <a:pt x="669" y="1060"/>
                </a:lnTo>
                <a:cubicBezTo>
                  <a:pt x="684" y="1054"/>
                  <a:pt x="696" y="1039"/>
                  <a:pt x="696" y="1022"/>
                </a:cubicBezTo>
                <a:lnTo>
                  <a:pt x="697" y="180"/>
                </a:lnTo>
                <a:cubicBezTo>
                  <a:pt x="697" y="157"/>
                  <a:pt x="678" y="139"/>
                  <a:pt x="656" y="139"/>
                </a:cubicBezTo>
                <a:cubicBezTo>
                  <a:pt x="656" y="139"/>
                  <a:pt x="488" y="138"/>
                  <a:pt x="442" y="138"/>
                </a:cubicBezTo>
                <a:cubicBezTo>
                  <a:pt x="442" y="98"/>
                  <a:pt x="442" y="44"/>
                  <a:pt x="442" y="44"/>
                </a:cubicBezTo>
                <a:cubicBezTo>
                  <a:pt x="442" y="27"/>
                  <a:pt x="432" y="13"/>
                  <a:pt x="417" y="6"/>
                </a:cubicBezTo>
                <a:cubicBezTo>
                  <a:pt x="402" y="0"/>
                  <a:pt x="385" y="3"/>
                  <a:pt x="373" y="15"/>
                </a:cubicBezTo>
                <a:lnTo>
                  <a:pt x="91" y="298"/>
                </a:lnTo>
                <a:cubicBezTo>
                  <a:pt x="41" y="348"/>
                  <a:pt x="2" y="442"/>
                  <a:pt x="2" y="512"/>
                </a:cubicBezTo>
                <a:lnTo>
                  <a:pt x="0" y="1101"/>
                </a:lnTo>
                <a:cubicBezTo>
                  <a:pt x="0" y="1184"/>
                  <a:pt x="66" y="1251"/>
                  <a:pt x="148" y="1251"/>
                </a:cubicBezTo>
                <a:lnTo>
                  <a:pt x="660" y="1253"/>
                </a:lnTo>
                <a:cubicBezTo>
                  <a:pt x="683" y="1253"/>
                  <a:pt x="701" y="1235"/>
                  <a:pt x="701" y="1212"/>
                </a:cubicBezTo>
                <a:lnTo>
                  <a:pt x="701" y="1212"/>
                </a:lnTo>
                <a:cubicBezTo>
                  <a:pt x="701" y="1189"/>
                  <a:pt x="683" y="1171"/>
                  <a:pt x="660" y="1171"/>
                </a:cubicBezTo>
                <a:close/>
                <a:moveTo>
                  <a:pt x="615" y="220"/>
                </a:moveTo>
                <a:cubicBezTo>
                  <a:pt x="615" y="291"/>
                  <a:pt x="615" y="910"/>
                  <a:pt x="615" y="981"/>
                </a:cubicBezTo>
                <a:lnTo>
                  <a:pt x="153" y="981"/>
                </a:lnTo>
                <a:lnTo>
                  <a:pt x="442" y="736"/>
                </a:lnTo>
                <a:lnTo>
                  <a:pt x="441" y="220"/>
                </a:lnTo>
                <a:cubicBezTo>
                  <a:pt x="468" y="220"/>
                  <a:pt x="591" y="220"/>
                  <a:pt x="615" y="220"/>
                </a:cubicBezTo>
                <a:close/>
                <a:moveTo>
                  <a:pt x="81" y="1101"/>
                </a:moveTo>
                <a:cubicBezTo>
                  <a:pt x="81" y="1101"/>
                  <a:pt x="81" y="1067"/>
                  <a:pt x="81" y="1063"/>
                </a:cubicBezTo>
                <a:lnTo>
                  <a:pt x="565" y="1063"/>
                </a:lnTo>
                <a:cubicBezTo>
                  <a:pt x="558" y="1077"/>
                  <a:pt x="552" y="1093"/>
                  <a:pt x="550" y="1109"/>
                </a:cubicBezTo>
                <a:cubicBezTo>
                  <a:pt x="546" y="1131"/>
                  <a:pt x="548" y="1151"/>
                  <a:pt x="553" y="1171"/>
                </a:cubicBezTo>
                <a:lnTo>
                  <a:pt x="148" y="1169"/>
                </a:lnTo>
                <a:cubicBezTo>
                  <a:pt x="111" y="1169"/>
                  <a:pt x="81" y="1139"/>
                  <a:pt x="81" y="1101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Book3">
            <a:extLst>
              <a:ext uri="{FF2B5EF4-FFF2-40B4-BE49-F238E27FC236}">
                <a16:creationId xmlns:a16="http://schemas.microsoft.com/office/drawing/2014/main" id="{3455FC46-E5C7-45C9-867F-B3B44162C0C8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3327005" y="4182787"/>
            <a:ext cx="202257" cy="362986"/>
          </a:xfrm>
          <a:custGeom>
            <a:avLst/>
            <a:gdLst>
              <a:gd name="T0" fmla="*/ 660 w 701"/>
              <a:gd name="T1" fmla="*/ 1171 h 1253"/>
              <a:gd name="T2" fmla="*/ 641 w 701"/>
              <a:gd name="T3" fmla="*/ 1171 h 1253"/>
              <a:gd name="T4" fmla="*/ 630 w 701"/>
              <a:gd name="T5" fmla="*/ 1123 h 1253"/>
              <a:gd name="T6" fmla="*/ 669 w 701"/>
              <a:gd name="T7" fmla="*/ 1060 h 1253"/>
              <a:gd name="T8" fmla="*/ 669 w 701"/>
              <a:gd name="T9" fmla="*/ 1060 h 1253"/>
              <a:gd name="T10" fmla="*/ 696 w 701"/>
              <a:gd name="T11" fmla="*/ 1022 h 1253"/>
              <a:gd name="T12" fmla="*/ 697 w 701"/>
              <a:gd name="T13" fmla="*/ 180 h 1253"/>
              <a:gd name="T14" fmla="*/ 656 w 701"/>
              <a:gd name="T15" fmla="*/ 139 h 1253"/>
              <a:gd name="T16" fmla="*/ 442 w 701"/>
              <a:gd name="T17" fmla="*/ 138 h 1253"/>
              <a:gd name="T18" fmla="*/ 442 w 701"/>
              <a:gd name="T19" fmla="*/ 44 h 1253"/>
              <a:gd name="T20" fmla="*/ 417 w 701"/>
              <a:gd name="T21" fmla="*/ 6 h 1253"/>
              <a:gd name="T22" fmla="*/ 373 w 701"/>
              <a:gd name="T23" fmla="*/ 15 h 1253"/>
              <a:gd name="T24" fmla="*/ 91 w 701"/>
              <a:gd name="T25" fmla="*/ 298 h 1253"/>
              <a:gd name="T26" fmla="*/ 2 w 701"/>
              <a:gd name="T27" fmla="*/ 512 h 1253"/>
              <a:gd name="T28" fmla="*/ 0 w 701"/>
              <a:gd name="T29" fmla="*/ 1101 h 1253"/>
              <a:gd name="T30" fmla="*/ 148 w 701"/>
              <a:gd name="T31" fmla="*/ 1251 h 1253"/>
              <a:gd name="T32" fmla="*/ 660 w 701"/>
              <a:gd name="T33" fmla="*/ 1253 h 1253"/>
              <a:gd name="T34" fmla="*/ 701 w 701"/>
              <a:gd name="T35" fmla="*/ 1212 h 1253"/>
              <a:gd name="T36" fmla="*/ 701 w 701"/>
              <a:gd name="T37" fmla="*/ 1212 h 1253"/>
              <a:gd name="T38" fmla="*/ 660 w 701"/>
              <a:gd name="T39" fmla="*/ 1171 h 1253"/>
              <a:gd name="T40" fmla="*/ 615 w 701"/>
              <a:gd name="T41" fmla="*/ 220 h 1253"/>
              <a:gd name="T42" fmla="*/ 615 w 701"/>
              <a:gd name="T43" fmla="*/ 981 h 1253"/>
              <a:gd name="T44" fmla="*/ 153 w 701"/>
              <a:gd name="T45" fmla="*/ 981 h 1253"/>
              <a:gd name="T46" fmla="*/ 442 w 701"/>
              <a:gd name="T47" fmla="*/ 736 h 1253"/>
              <a:gd name="T48" fmla="*/ 441 w 701"/>
              <a:gd name="T49" fmla="*/ 220 h 1253"/>
              <a:gd name="T50" fmla="*/ 615 w 701"/>
              <a:gd name="T51" fmla="*/ 220 h 1253"/>
              <a:gd name="T52" fmla="*/ 81 w 701"/>
              <a:gd name="T53" fmla="*/ 1101 h 1253"/>
              <a:gd name="T54" fmla="*/ 81 w 701"/>
              <a:gd name="T55" fmla="*/ 1063 h 1253"/>
              <a:gd name="T56" fmla="*/ 565 w 701"/>
              <a:gd name="T57" fmla="*/ 1063 h 1253"/>
              <a:gd name="T58" fmla="*/ 550 w 701"/>
              <a:gd name="T59" fmla="*/ 1109 h 1253"/>
              <a:gd name="T60" fmla="*/ 553 w 701"/>
              <a:gd name="T61" fmla="*/ 1171 h 1253"/>
              <a:gd name="T62" fmla="*/ 148 w 701"/>
              <a:gd name="T63" fmla="*/ 1169 h 1253"/>
              <a:gd name="T64" fmla="*/ 81 w 701"/>
              <a:gd name="T65" fmla="*/ 1101 h 1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01" h="1253">
                <a:moveTo>
                  <a:pt x="660" y="1171"/>
                </a:moveTo>
                <a:lnTo>
                  <a:pt x="641" y="1171"/>
                </a:lnTo>
                <a:cubicBezTo>
                  <a:pt x="630" y="1158"/>
                  <a:pt x="626" y="1143"/>
                  <a:pt x="630" y="1123"/>
                </a:cubicBezTo>
                <a:cubicBezTo>
                  <a:pt x="635" y="1091"/>
                  <a:pt x="658" y="1064"/>
                  <a:pt x="669" y="1060"/>
                </a:cubicBezTo>
                <a:lnTo>
                  <a:pt x="669" y="1060"/>
                </a:lnTo>
                <a:cubicBezTo>
                  <a:pt x="684" y="1054"/>
                  <a:pt x="696" y="1039"/>
                  <a:pt x="696" y="1022"/>
                </a:cubicBezTo>
                <a:lnTo>
                  <a:pt x="697" y="180"/>
                </a:lnTo>
                <a:cubicBezTo>
                  <a:pt x="697" y="157"/>
                  <a:pt x="678" y="139"/>
                  <a:pt x="656" y="139"/>
                </a:cubicBezTo>
                <a:cubicBezTo>
                  <a:pt x="656" y="139"/>
                  <a:pt x="488" y="138"/>
                  <a:pt x="442" y="138"/>
                </a:cubicBezTo>
                <a:cubicBezTo>
                  <a:pt x="442" y="98"/>
                  <a:pt x="442" y="44"/>
                  <a:pt x="442" y="44"/>
                </a:cubicBezTo>
                <a:cubicBezTo>
                  <a:pt x="442" y="27"/>
                  <a:pt x="432" y="13"/>
                  <a:pt x="417" y="6"/>
                </a:cubicBezTo>
                <a:cubicBezTo>
                  <a:pt x="402" y="0"/>
                  <a:pt x="385" y="3"/>
                  <a:pt x="373" y="15"/>
                </a:cubicBezTo>
                <a:lnTo>
                  <a:pt x="91" y="298"/>
                </a:lnTo>
                <a:cubicBezTo>
                  <a:pt x="41" y="348"/>
                  <a:pt x="2" y="442"/>
                  <a:pt x="2" y="512"/>
                </a:cubicBezTo>
                <a:lnTo>
                  <a:pt x="0" y="1101"/>
                </a:lnTo>
                <a:cubicBezTo>
                  <a:pt x="0" y="1184"/>
                  <a:pt x="66" y="1251"/>
                  <a:pt x="148" y="1251"/>
                </a:cubicBezTo>
                <a:lnTo>
                  <a:pt x="660" y="1253"/>
                </a:lnTo>
                <a:cubicBezTo>
                  <a:pt x="683" y="1253"/>
                  <a:pt x="701" y="1235"/>
                  <a:pt x="701" y="1212"/>
                </a:cubicBezTo>
                <a:lnTo>
                  <a:pt x="701" y="1212"/>
                </a:lnTo>
                <a:cubicBezTo>
                  <a:pt x="701" y="1189"/>
                  <a:pt x="683" y="1171"/>
                  <a:pt x="660" y="1171"/>
                </a:cubicBezTo>
                <a:close/>
                <a:moveTo>
                  <a:pt x="615" y="220"/>
                </a:moveTo>
                <a:cubicBezTo>
                  <a:pt x="615" y="291"/>
                  <a:pt x="615" y="910"/>
                  <a:pt x="615" y="981"/>
                </a:cubicBezTo>
                <a:lnTo>
                  <a:pt x="153" y="981"/>
                </a:lnTo>
                <a:lnTo>
                  <a:pt x="442" y="736"/>
                </a:lnTo>
                <a:lnTo>
                  <a:pt x="441" y="220"/>
                </a:lnTo>
                <a:cubicBezTo>
                  <a:pt x="468" y="220"/>
                  <a:pt x="591" y="220"/>
                  <a:pt x="615" y="220"/>
                </a:cubicBezTo>
                <a:close/>
                <a:moveTo>
                  <a:pt x="81" y="1101"/>
                </a:moveTo>
                <a:cubicBezTo>
                  <a:pt x="81" y="1101"/>
                  <a:pt x="81" y="1067"/>
                  <a:pt x="81" y="1063"/>
                </a:cubicBezTo>
                <a:lnTo>
                  <a:pt x="565" y="1063"/>
                </a:lnTo>
                <a:cubicBezTo>
                  <a:pt x="558" y="1077"/>
                  <a:pt x="552" y="1093"/>
                  <a:pt x="550" y="1109"/>
                </a:cubicBezTo>
                <a:cubicBezTo>
                  <a:pt x="546" y="1131"/>
                  <a:pt x="548" y="1151"/>
                  <a:pt x="553" y="1171"/>
                </a:cubicBezTo>
                <a:lnTo>
                  <a:pt x="148" y="1169"/>
                </a:lnTo>
                <a:cubicBezTo>
                  <a:pt x="111" y="1169"/>
                  <a:pt x="81" y="1139"/>
                  <a:pt x="81" y="1101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409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2A88EC-B4BF-417A-A01B-29220CED7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rskel mellem klassisk og SWH rapport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E86EC3C-7AF3-4A80-8927-93D27DF7E0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872712" y="1809341"/>
            <a:ext cx="8849714" cy="4372337"/>
          </a:xfrm>
          <a:prstGeom prst="rect">
            <a:avLst/>
          </a:prstGeom>
        </p:spPr>
      </p:pic>
      <p:grpSp>
        <p:nvGrpSpPr>
          <p:cNvPr id="5" name="Big_Idea">
            <a:extLst>
              <a:ext uri="{FF2B5EF4-FFF2-40B4-BE49-F238E27FC236}">
                <a16:creationId xmlns:a16="http://schemas.microsoft.com/office/drawing/2014/main" id="{0A7FD7B5-04FD-4D95-9666-96A04F90EF6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69574" y="2865728"/>
            <a:ext cx="2912600" cy="3065674"/>
            <a:chOff x="3544" y="-299"/>
            <a:chExt cx="4110" cy="4326"/>
          </a:xfrm>
          <a:solidFill>
            <a:schemeClr val="accent4"/>
          </a:solidFill>
        </p:grpSpPr>
        <p:sp>
          <p:nvSpPr>
            <p:cNvPr id="6" name="Freeform 1368">
              <a:extLst>
                <a:ext uri="{FF2B5EF4-FFF2-40B4-BE49-F238E27FC236}">
                  <a16:creationId xmlns:a16="http://schemas.microsoft.com/office/drawing/2014/main" id="{E19C0D82-1E79-449D-8701-B6315F844F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1369">
              <a:extLst>
                <a:ext uri="{FF2B5EF4-FFF2-40B4-BE49-F238E27FC236}">
                  <a16:creationId xmlns:a16="http://schemas.microsoft.com/office/drawing/2014/main" id="{8EA4C67A-ABA7-42E1-8357-BD6B4639E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1370">
              <a:extLst>
                <a:ext uri="{FF2B5EF4-FFF2-40B4-BE49-F238E27FC236}">
                  <a16:creationId xmlns:a16="http://schemas.microsoft.com/office/drawing/2014/main" id="{C9EB1C4E-7BD4-4DEA-826F-20D3C51B8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1371">
              <a:extLst>
                <a:ext uri="{FF2B5EF4-FFF2-40B4-BE49-F238E27FC236}">
                  <a16:creationId xmlns:a16="http://schemas.microsoft.com/office/drawing/2014/main" id="{FD61A423-0243-4B59-AE88-EEF9E0722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1372">
              <a:extLst>
                <a:ext uri="{FF2B5EF4-FFF2-40B4-BE49-F238E27FC236}">
                  <a16:creationId xmlns:a16="http://schemas.microsoft.com/office/drawing/2014/main" id="{11E2E7DE-09C3-4C08-82F8-BAFD4E99F2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1373">
              <a:extLst>
                <a:ext uri="{FF2B5EF4-FFF2-40B4-BE49-F238E27FC236}">
                  <a16:creationId xmlns:a16="http://schemas.microsoft.com/office/drawing/2014/main" id="{1B96E60D-E54F-4D31-B378-34D7429A2D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374">
              <a:extLst>
                <a:ext uri="{FF2B5EF4-FFF2-40B4-BE49-F238E27FC236}">
                  <a16:creationId xmlns:a16="http://schemas.microsoft.com/office/drawing/2014/main" id="{3325CD4B-A9A6-4A93-8406-890D611FBB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375">
              <a:extLst>
                <a:ext uri="{FF2B5EF4-FFF2-40B4-BE49-F238E27FC236}">
                  <a16:creationId xmlns:a16="http://schemas.microsoft.com/office/drawing/2014/main" id="{6A91DC61-D606-4122-BBB2-0C6944B0CD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376">
              <a:extLst>
                <a:ext uri="{FF2B5EF4-FFF2-40B4-BE49-F238E27FC236}">
                  <a16:creationId xmlns:a16="http://schemas.microsoft.com/office/drawing/2014/main" id="{1F481C05-35F7-4BDC-99F1-DFC49374D9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000391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D4897-B8C0-4A17-A3FE-E11A453E0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rskningsdesig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F1A1BE-6500-4000-A721-E178F2DD26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a-DK" dirty="0"/>
              <a:t>Jeg har besluttet mig for at stille eleverne følgende fem spørgsmål som de skal evaluerere i slutningen af et laboratorie modul:</a:t>
            </a:r>
          </a:p>
          <a:p>
            <a:pPr marL="2338388" indent="-539750">
              <a:buFont typeface="+mj-lt"/>
              <a:buAutoNum type="arabicPeriod"/>
            </a:pPr>
            <a:r>
              <a:rPr lang="da-DK" dirty="0"/>
              <a:t>Jeg synes jeg har lært meget i fysik i dag.</a:t>
            </a:r>
          </a:p>
          <a:p>
            <a:pPr marL="2338388" indent="-539750">
              <a:buFont typeface="+mj-lt"/>
              <a:buAutoNum type="arabicPeriod"/>
            </a:pPr>
            <a:r>
              <a:rPr lang="da-DK" dirty="0"/>
              <a:t>Jeg havde let ved at gennemskue hvad jeg skulle i laboratoriet</a:t>
            </a:r>
          </a:p>
          <a:p>
            <a:pPr marL="2338388" indent="-539750">
              <a:buFont typeface="+mj-lt"/>
              <a:buAutoNum type="arabicPeriod"/>
            </a:pPr>
            <a:r>
              <a:rPr lang="da-DK" dirty="0"/>
              <a:t>Arbejdet i laboratoriet har bidraget til min forståelse af teorien</a:t>
            </a:r>
          </a:p>
          <a:p>
            <a:pPr marL="2338388" indent="-539750">
              <a:buFont typeface="+mj-lt"/>
              <a:buAutoNum type="arabicPeriod"/>
            </a:pPr>
            <a:r>
              <a:rPr lang="da-DK" dirty="0"/>
              <a:t>Jeg føler mig motiveret til det skriftlige arbejde</a:t>
            </a:r>
          </a:p>
          <a:p>
            <a:pPr marL="2338388" indent="-539750">
              <a:buFont typeface="+mj-lt"/>
              <a:buAutoNum type="arabicPeriod"/>
            </a:pPr>
            <a:r>
              <a:rPr lang="da-DK" dirty="0"/>
              <a:t>Jeg føler at dagens praktiske arbejde i laboratoriet, øger min faglige motivation.</a:t>
            </a:r>
          </a:p>
        </p:txBody>
      </p:sp>
    </p:spTree>
    <p:extLst>
      <p:ext uri="{BB962C8B-B14F-4D97-AF65-F5344CB8AC3E}">
        <p14:creationId xmlns:p14="http://schemas.microsoft.com/office/powerpoint/2010/main" val="475682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FBD0D-010C-49DD-99EE-0B70C6E0D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spondenter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24F4BDC-710C-4EEE-88C1-86A91F10112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49877" y="2830554"/>
            <a:ext cx="15481276" cy="4027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4E54BE4-BEFD-4953-A02B-1DA9779CD5BA}"/>
              </a:ext>
            </a:extLst>
          </p:cNvPr>
          <p:cNvSpPr txBox="1"/>
          <p:nvPr/>
        </p:nvSpPr>
        <p:spPr>
          <a:xfrm>
            <a:off x="1058779" y="1379621"/>
            <a:ext cx="10058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/>
              <a:t>Der er 117 fuldstændige besvarelser ud af 354 mulige respondenter hvilket svarer til ca. 33 % af 1.g eleverne på Viborg Katedralskole årgang 2018.</a:t>
            </a:r>
          </a:p>
        </p:txBody>
      </p:sp>
    </p:spTree>
    <p:extLst>
      <p:ext uri="{BB962C8B-B14F-4D97-AF65-F5344CB8AC3E}">
        <p14:creationId xmlns:p14="http://schemas.microsoft.com/office/powerpoint/2010/main" val="7167658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F766B-C9D9-4659-AE79-BAEDA7394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eg synes jeg har lært meget i fysik i dag.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2C1B549-AD00-44EF-A347-3C418B6CFD5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2238" y="1679996"/>
            <a:ext cx="14686702" cy="5178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4697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3CF57-70E8-43DB-B77F-6D0079F2D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Jeg havde let ved at gennemskue hvad jeg skulle i laboratoriet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B14DB9F-D699-4D74-BF20-6F7960BCE24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2400" y="1713133"/>
            <a:ext cx="14592715" cy="5144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2576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s_POWER_USER_SEPARATOR_ICONS_cogs_POWER_USER_SEPARATOR_ICONS_machine_POWER_USER_SEPARATOR_ICONS_mechani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ime-check_POWER_USER_SEPARATOR_ICONS_pass-time_POWER_USER_SEPARATOR_ICONS_what-time-is-it_POWER_USER_SEPARATOR_ICONS_watch_POWER_USER_SEPARATOR_ICONS_time_POWER_USER_SEPARATOR_ICONS_space_POWER_USER_SEPARATOR_ICONS_reading_POWER_USER_SEPARATOR_ICONS_posture_POWER_USER_SEPARATOR_ICONS_paper_POWER_USER_SEPARATOR_ICONS_man_POWER_USER_SEPARATOR_ICONS_look_POWER_USER_SEPARATOR_ICONS_costume_POWER_USER_SEPARATOR_ICONS_clock_POWER_USER_SEPARATOR_ICONS_bored_POWER_USER_SEPARATOR_ICONS_astronaut_POWER_USER_SEPARATOR_ICONS_hanging-aroun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ocket*rocket launch*space craft*space shuttle*universe*galaxy*discovery*exploration*science*transport*industries*start up*growth*launch*start*vehicle*aeronautics*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ime-check_POWER_USER_SEPARATOR_ICONS_pass-time_POWER_USER_SEPARATOR_ICONS_what-time-is-it_POWER_USER_SEPARATOR_ICONS_watch_POWER_USER_SEPARATOR_ICONS_time_POWER_USER_SEPARATOR_ICONS_space_POWER_USER_SEPARATOR_ICONS_reading_POWER_USER_SEPARATOR_ICONS_posture_POWER_USER_SEPARATOR_ICONS_paper_POWER_USER_SEPARATOR_ICONS_man_POWER_USER_SEPARATOR_ICONS_look_POWER_USER_SEPARATOR_ICONS_costume_POWER_USER_SEPARATOR_ICONS_clock_POWER_USER_SEPARATOR_ICONS_bored_POWER_USER_SEPARATOR_ICONS_astronaut_POWER_USER_SEPARATOR_ICONS_hanging-aroun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s_POWER_USER_SEPARATOR_ICONS_cogs_POWER_USER_SEPARATOR_ICONS_machine_POWER_USER_SEPARATOR_ICONS_mechani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s_POWER_USER_SEPARATOR_ICONS_cogs_POWER_USER_SEPARATOR_ICONS_machine_POWER_USER_SEPARATOR_ICONS_mechani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s_POWER_USER_SEPARATOR_ICONS_cogs_POWER_USER_SEPARATOR_ICONS_machine_POWER_USER_SEPARATOR_ICONS_mechani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s_POWER_USER_SEPARATOR_ICONS_cogs_POWER_USER_SEPARATOR_ICONS_machine_POWER_USER_SEPARATOR_ICONS_mechani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_POWER_USER_SEPARATOR_ICONS_concept_POWER_USER_SEPARATOR_ICONS_innovation_POWER_USER_SEPARATOR_ICONS_light-bulb_POWER_USER_SEPARATOR_ICONS_think_POWER_USER_SEPARATOR_ICONS_thinkin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</TotalTime>
  <Words>401</Words>
  <Application>Microsoft Office PowerPoint</Application>
  <PresentationFormat>Widescreen</PresentationFormat>
  <Paragraphs>43</Paragraphs>
  <Slides>1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8" baseType="lpstr">
      <vt:lpstr>Calibri Light</vt:lpstr>
      <vt:lpstr>Calibri</vt:lpstr>
      <vt:lpstr>Arial</vt:lpstr>
      <vt:lpstr>Office Theme</vt:lpstr>
      <vt:lpstr>UndersøgelsesBaseret NaturfagsUndervisning </vt:lpstr>
      <vt:lpstr>Motivation</vt:lpstr>
      <vt:lpstr>Foreløbig problemformulering…</vt:lpstr>
      <vt:lpstr>Science Writing Heuristic</vt:lpstr>
      <vt:lpstr>Forskel mellem klassisk og SWH rapport</vt:lpstr>
      <vt:lpstr>Forskningsdesign</vt:lpstr>
      <vt:lpstr>Respondenter</vt:lpstr>
      <vt:lpstr>Jeg synes jeg har lært meget i fysik i dag.</vt:lpstr>
      <vt:lpstr>Jeg havde let ved at gennemskue hvad jeg skulle i laboratoriet</vt:lpstr>
      <vt:lpstr>Arbejdet i laboratoriet har bidraget til min forståelse af teorien</vt:lpstr>
      <vt:lpstr>Jeg føler mig motiveret til det skriftlige arbejde</vt:lpstr>
      <vt:lpstr>Jeg føler at dagens praktiske arbejde i laboratoriet, øger min faglige motivation</vt:lpstr>
      <vt:lpstr>Status PT.</vt:lpstr>
      <vt:lpstr>Litteraturliste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dersøgelsesBaseret NaturfagsUndervisning </dc:title>
  <dc:creator>Thomas Mellergaard Amby</dc:creator>
  <cp:lastModifiedBy>Thomas Mellergaard Amby</cp:lastModifiedBy>
  <cp:revision>11</cp:revision>
  <dcterms:created xsi:type="dcterms:W3CDTF">2019-01-14T09:20:02Z</dcterms:created>
  <dcterms:modified xsi:type="dcterms:W3CDTF">2019-01-14T11:18:02Z</dcterms:modified>
</cp:coreProperties>
</file>